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9"/>
  </p:notesMasterIdLst>
  <p:sldIdLst>
    <p:sldId id="840" r:id="rId2"/>
    <p:sldId id="275" r:id="rId3"/>
    <p:sldId id="842" r:id="rId4"/>
    <p:sldId id="841" r:id="rId5"/>
    <p:sldId id="845" r:id="rId6"/>
    <p:sldId id="846" r:id="rId7"/>
    <p:sldId id="843" r:id="rId8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1C1DA"/>
    <a:srgbClr val="4882CA"/>
    <a:srgbClr val="056AA4"/>
    <a:srgbClr val="046DA7"/>
    <a:srgbClr val="1D2D61"/>
    <a:srgbClr val="365597"/>
    <a:srgbClr val="2C4488"/>
    <a:srgbClr val="304B8F"/>
    <a:srgbClr val="0F4274"/>
    <a:srgbClr val="113F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보통 스타일 2 - 강조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51" autoAdjust="0"/>
    <p:restoredTop sz="93703" autoAdjust="0"/>
  </p:normalViewPr>
  <p:slideViewPr>
    <p:cSldViewPr snapToGrid="0" snapToObjects="1">
      <p:cViewPr varScale="1">
        <p:scale>
          <a:sx n="103" d="100"/>
          <a:sy n="103" d="100"/>
        </p:scale>
        <p:origin x="1104" y="18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D8DA2B-CDBE-1C4C-9614-52733C7A4CA2}" type="datetimeFigureOut">
              <a:rPr kumimoji="1" lang="ko-KR" altLang="en-US" smtClean="0"/>
              <a:t>2025-02-17</a:t>
            </a:fld>
            <a:endParaRPr kumimoji="1"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0C78C2-F9D0-9742-BD27-9017CFD1593B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502731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0C78C2-F9D0-9742-BD27-9017CFD1593B}" type="slidenum">
              <a:rPr kumimoji="1" lang="ko-KR" altLang="en-US" smtClean="0"/>
              <a:t>1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41980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2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0026651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3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8888953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4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347491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DFDD0-3E0F-0EDF-8807-7120F48141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697E26F-35A2-B9BA-8CB7-D3051C99B2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C0D6C58-8064-FC8D-20A0-4D54DBB790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70BC96C-A0F7-366B-E7EA-0F10B3B2BE0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5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3636388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D831F0-701A-1E0E-4A47-5029552CF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8F8D1E6-E834-81E1-9F3A-E450C52B01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BEB55F38-80CA-2B8A-733C-85C4A96E4C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B9A7741-415C-87B4-6A59-0B69315E1D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6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8696869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0C78C2-F9D0-9742-BD27-9017CFD1593B}" type="slidenum">
              <a:rPr kumimoji="1" lang="ko-KR" altLang="en-US" smtClean="0"/>
              <a:t>7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7262906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5AB9A7E-2C71-F74B-8A4B-D09299658F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571AA206-5190-9741-A769-4D4BBE8A4D0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B452BFC-9CFE-3349-98F9-D46E862938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7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180730C-3908-6D4F-A810-367FAEF4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854FA5B-733A-2146-AF2D-E1861BAB97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5897876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561FD8B-FA58-9E41-9B91-0C5ECEF58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EC36E47-B507-FE4D-B008-89AFD07745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DAEDA6A0-0EAC-A94D-9239-D1C20CEBD0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7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CBE3752-6A61-744D-89AD-300CC9E0E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D63F82D-4851-AB47-AA58-476C216C23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217833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879AB5B7-CC19-0B4F-8ED5-42275FED513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164B2E6F-8606-5E45-B705-60F15020CC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FBBB380-9A3A-6545-8BC9-7E3A5D8793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7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2807945-50E5-364B-B341-0E625DE69E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AADE9B0-464F-E845-B747-2AB3C6373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8123471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18A0447-92A1-7745-AA13-90DCB91BD3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171C308-B2C8-4F48-8738-BACAE813DD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3902490-5800-2543-8D71-41543E9A46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7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8DE668A-A200-1746-BA2A-92CC4F6553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CF60453-5058-7748-8E67-56BEE0195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4448056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9391BC3-1EE6-0A47-838E-A8FE9246A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8950A8A8-5BC2-8241-818B-29078FACD4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16B66EC-E5E0-2C46-BA19-FF15B2F65F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7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EF996F9-B7EB-054B-9DD8-73DD852A3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3E0C81A-2F0D-5849-99B5-4FC8A72E5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4146092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B440E68-142E-9C41-97CF-F377F967B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7230E3B-E7FE-F345-BB3A-FD0FA5EA8C3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A12033D2-7D1A-9B46-8029-C6ECC05CB5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A477F32-181E-3D42-B356-97E781CEF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7</a:t>
            </a:fld>
            <a:endParaRPr kumimoji="1"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28886E6-A080-E048-8848-A5B96F29AE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E5C0A24-B1C4-C245-B206-CB812AB00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7664773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4923B1B-D09D-2042-A921-A1783B815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01E8E89-7EE2-8746-AB47-ABF54DB050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F20C897-97C9-A640-841C-1D93E1F369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F14E91C6-0B17-354F-8E61-1A889821F3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DD25E8A-F38D-604F-9281-69754C36AF8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A49402FF-4A7A-BD48-A7FE-1AFDC6400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7</a:t>
            </a:fld>
            <a:endParaRPr kumimoji="1"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7AE99608-8DE7-504F-8743-23FAA4EC2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56285200-9462-4A44-A7B8-2943A90E27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6071081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EB1CBBA-20F7-F745-B984-D96684E17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3EB6B4CA-DDDE-A948-AAEA-7DA0BB4F7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7</a:t>
            </a:fld>
            <a:endParaRPr kumimoji="1"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BD69D53E-27B2-8144-9B00-8B6BE0C6C2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2FA569BB-16BC-ED40-B8CC-7A0CBD13A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2985559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0FF8E6C8-BE04-784A-A6E5-AFCDF33E1C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7</a:t>
            </a:fld>
            <a:endParaRPr kumimoji="1"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D8FDBAC-A2A4-0D4F-99C8-717C1A007A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756769F-6405-DD4C-8594-501A14E52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3180672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2E99741-891A-D24D-A2E9-59FF3E270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F7EF378-5FD3-864A-8CD7-DF45ED8E6F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EF455E06-130D-1947-8A96-C4316FF548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5386CD6-E332-8042-9D32-8904E14080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7</a:t>
            </a:fld>
            <a:endParaRPr kumimoji="1"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5947DD91-F1D7-8A41-8DCA-4AF54CDA50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AED9696E-098E-1C42-9505-B07EDA0F3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5806459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3F0805C-F427-7C4C-B29F-52B73823DD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8E87F928-E6C4-7941-847D-63FF17C115F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D44BF0BC-23C5-7641-95D2-7EE205A3F4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4C4EA68-9298-2445-AF53-B54CDD9F05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7</a:t>
            </a:fld>
            <a:endParaRPr kumimoji="1"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F80BE0D3-5C77-0F4E-AF76-F11730F672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905465B3-CEA2-454B-8069-382F3B8EE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3835870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2CF8B7A4-597F-E944-98A9-2285C5FDA9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1EB33C8-F448-3143-BB6E-8572068D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167CEBA-F4C4-BF41-BD1D-62B4066837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5C5A27-84AE-1744-A870-80747435CB69}" type="datetimeFigureOut">
              <a:rPr kumimoji="1" lang="ko-KR" altLang="en-US" smtClean="0"/>
              <a:t>2025-02-17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413B8B3-BF6C-BF45-93FA-11BFF69C45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D30A3ED-B8CA-4F41-B5DC-E98DCFED54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765527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10" Type="http://schemas.openxmlformats.org/officeDocument/2006/relationships/image" Target="../media/image10.png"/><Relationship Id="rId4" Type="http://schemas.openxmlformats.org/officeDocument/2006/relationships/image" Target="../media/image5.png"/><Relationship Id="rId9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4.png"/><Relationship Id="rId7" Type="http://schemas.openxmlformats.org/officeDocument/2006/relationships/image" Target="../media/image12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3.png"/><Relationship Id="rId4" Type="http://schemas.openxmlformats.org/officeDocument/2006/relationships/image" Target="../media/image5.png"/><Relationship Id="rId9" Type="http://schemas.openxmlformats.org/officeDocument/2006/relationships/image" Target="../media/image1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3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3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png"/><Relationship Id="rId5" Type="http://schemas.openxmlformats.org/officeDocument/2006/relationships/image" Target="../media/image3.pn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7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5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직사각형 3">
            <a:extLst>
              <a:ext uri="{FF2B5EF4-FFF2-40B4-BE49-F238E27FC236}">
                <a16:creationId xmlns:a16="http://schemas.microsoft.com/office/drawing/2014/main" id="{AA348D11-4335-4BFC-AAFD-A5760534274D}"/>
              </a:ext>
            </a:extLst>
          </p:cNvPr>
          <p:cNvSpPr/>
          <p:nvPr/>
        </p:nvSpPr>
        <p:spPr>
          <a:xfrm>
            <a:off x="697230" y="423143"/>
            <a:ext cx="11262360" cy="6141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9" name="그림 18">
            <a:extLst>
              <a:ext uri="{FF2B5EF4-FFF2-40B4-BE49-F238E27FC236}">
                <a16:creationId xmlns:a16="http://schemas.microsoft.com/office/drawing/2014/main" id="{8536A257-573E-4D42-8F1F-E732F2037C3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6104" b="39548"/>
          <a:stretch/>
        </p:blipFill>
        <p:spPr>
          <a:xfrm>
            <a:off x="1" y="5352"/>
            <a:ext cx="12191999" cy="3727048"/>
          </a:xfrm>
          <a:custGeom>
            <a:avLst/>
            <a:gdLst>
              <a:gd name="connsiteX0" fmla="*/ 0 w 12191999"/>
              <a:gd name="connsiteY0" fmla="*/ 0 h 3727048"/>
              <a:gd name="connsiteX1" fmla="*/ 12191999 w 12191999"/>
              <a:gd name="connsiteY1" fmla="*/ 0 h 3727048"/>
              <a:gd name="connsiteX2" fmla="*/ 12191999 w 12191999"/>
              <a:gd name="connsiteY2" fmla="*/ 3727048 h 3727048"/>
              <a:gd name="connsiteX3" fmla="*/ 6006470 w 12191999"/>
              <a:gd name="connsiteY3" fmla="*/ 3727048 h 3727048"/>
              <a:gd name="connsiteX4" fmla="*/ 3296918 w 12191999"/>
              <a:gd name="connsiteY4" fmla="*/ 2486026 h 3727048"/>
              <a:gd name="connsiteX5" fmla="*/ 587367 w 12191999"/>
              <a:gd name="connsiteY5" fmla="*/ 3727048 h 3727048"/>
              <a:gd name="connsiteX6" fmla="*/ 0 w 12191999"/>
              <a:gd name="connsiteY6" fmla="*/ 3727048 h 3727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27048">
                <a:moveTo>
                  <a:pt x="0" y="0"/>
                </a:moveTo>
                <a:lnTo>
                  <a:pt x="12191999" y="0"/>
                </a:lnTo>
                <a:lnTo>
                  <a:pt x="12191999" y="3727048"/>
                </a:lnTo>
                <a:lnTo>
                  <a:pt x="6006470" y="3727048"/>
                </a:lnTo>
                <a:lnTo>
                  <a:pt x="3296918" y="2486026"/>
                </a:lnTo>
                <a:lnTo>
                  <a:pt x="587367" y="3727048"/>
                </a:lnTo>
                <a:lnTo>
                  <a:pt x="0" y="3727048"/>
                </a:lnTo>
                <a:close/>
              </a:path>
            </a:pathLst>
          </a:custGeom>
          <a:solidFill>
            <a:srgbClr val="056AA4">
              <a:alpha val="76000"/>
            </a:srgbClr>
          </a:solidFill>
        </p:spPr>
      </p:pic>
      <p:sp>
        <p:nvSpPr>
          <p:cNvPr id="13" name="평행 사변형 12">
            <a:extLst>
              <a:ext uri="{FF2B5EF4-FFF2-40B4-BE49-F238E27FC236}">
                <a16:creationId xmlns:a16="http://schemas.microsoft.com/office/drawing/2014/main" id="{CA1EBD39-6C4C-4828-8916-96442473B53E}"/>
              </a:ext>
            </a:extLst>
          </p:cNvPr>
          <p:cNvSpPr/>
          <p:nvPr/>
        </p:nvSpPr>
        <p:spPr>
          <a:xfrm rot="7616888" flipV="1">
            <a:off x="4352666" y="921529"/>
            <a:ext cx="2076970" cy="4306279"/>
          </a:xfrm>
          <a:custGeom>
            <a:avLst/>
            <a:gdLst>
              <a:gd name="connsiteX0" fmla="*/ 0 w 1676400"/>
              <a:gd name="connsiteY0" fmla="*/ 3368040 h 3368040"/>
              <a:gd name="connsiteX1" fmla="*/ 702462 w 1676400"/>
              <a:gd name="connsiteY1" fmla="*/ 0 h 3368040"/>
              <a:gd name="connsiteX2" fmla="*/ 1676400 w 1676400"/>
              <a:gd name="connsiteY2" fmla="*/ 0 h 3368040"/>
              <a:gd name="connsiteX3" fmla="*/ 973938 w 1676400"/>
              <a:gd name="connsiteY3" fmla="*/ 3368040 h 3368040"/>
              <a:gd name="connsiteX4" fmla="*/ 0 w 1676400"/>
              <a:gd name="connsiteY4" fmla="*/ 3368040 h 3368040"/>
              <a:gd name="connsiteX0" fmla="*/ 0 w 1728865"/>
              <a:gd name="connsiteY0" fmla="*/ 3843457 h 3843457"/>
              <a:gd name="connsiteX1" fmla="*/ 702462 w 1728865"/>
              <a:gd name="connsiteY1" fmla="*/ 475417 h 3843457"/>
              <a:gd name="connsiteX2" fmla="*/ 1728865 w 1728865"/>
              <a:gd name="connsiteY2" fmla="*/ 0 h 3843457"/>
              <a:gd name="connsiteX3" fmla="*/ 973938 w 1728865"/>
              <a:gd name="connsiteY3" fmla="*/ 3843457 h 3843457"/>
              <a:gd name="connsiteX4" fmla="*/ 0 w 1728865"/>
              <a:gd name="connsiteY4" fmla="*/ 3843457 h 3843457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191191 w 1946118"/>
              <a:gd name="connsiteY3" fmla="*/ 3843457 h 4461905"/>
              <a:gd name="connsiteX4" fmla="*/ 0 w 1946118"/>
              <a:gd name="connsiteY4" fmla="*/ 4461905 h 4461905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045037 w 1946118"/>
              <a:gd name="connsiteY3" fmla="*/ 3733529 h 4461905"/>
              <a:gd name="connsiteX4" fmla="*/ 0 w 1946118"/>
              <a:gd name="connsiteY4" fmla="*/ 4461905 h 4461905"/>
              <a:gd name="connsiteX0" fmla="*/ 0 w 1671715"/>
              <a:gd name="connsiteY0" fmla="*/ 4401320 h 4401320"/>
              <a:gd name="connsiteX1" fmla="*/ 919715 w 1671715"/>
              <a:gd name="connsiteY1" fmla="*/ 414832 h 4401320"/>
              <a:gd name="connsiteX2" fmla="*/ 1671715 w 1671715"/>
              <a:gd name="connsiteY2" fmla="*/ 0 h 4401320"/>
              <a:gd name="connsiteX3" fmla="*/ 1045037 w 1671715"/>
              <a:gd name="connsiteY3" fmla="*/ 3672944 h 4401320"/>
              <a:gd name="connsiteX4" fmla="*/ 0 w 1671715"/>
              <a:gd name="connsiteY4" fmla="*/ 4401320 h 4401320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450292 w 2076970"/>
              <a:gd name="connsiteY3" fmla="*/ 3672944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980810 w 2076970"/>
              <a:gd name="connsiteY3" fmla="*/ 3739359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166937 w 2076970"/>
              <a:gd name="connsiteY3" fmla="*/ 3593309 h 4306279"/>
              <a:gd name="connsiteX4" fmla="*/ 0 w 2076970"/>
              <a:gd name="connsiteY4" fmla="*/ 4306279 h 4306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6970" h="4306279">
                <a:moveTo>
                  <a:pt x="0" y="4306279"/>
                </a:moveTo>
                <a:lnTo>
                  <a:pt x="1324970" y="414832"/>
                </a:lnTo>
                <a:lnTo>
                  <a:pt x="2076970" y="0"/>
                </a:lnTo>
                <a:lnTo>
                  <a:pt x="1166937" y="3593309"/>
                </a:lnTo>
                <a:lnTo>
                  <a:pt x="0" y="4306279"/>
                </a:lnTo>
                <a:close/>
              </a:path>
            </a:pathLst>
          </a:custGeom>
          <a:solidFill>
            <a:srgbClr val="1D2D61"/>
          </a:solidFill>
          <a:ln>
            <a:solidFill>
              <a:srgbClr val="1D2D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각 삼각형 10">
            <a:extLst>
              <a:ext uri="{FF2B5EF4-FFF2-40B4-BE49-F238E27FC236}">
                <a16:creationId xmlns:a16="http://schemas.microsoft.com/office/drawing/2014/main" id="{C26AA14B-2FE4-4F17-9BAC-C48BC50F4AC3}"/>
              </a:ext>
            </a:extLst>
          </p:cNvPr>
          <p:cNvSpPr/>
          <p:nvPr/>
        </p:nvSpPr>
        <p:spPr>
          <a:xfrm rot="5400000">
            <a:off x="883920" y="1363980"/>
            <a:ext cx="2057400" cy="3825240"/>
          </a:xfrm>
          <a:custGeom>
            <a:avLst/>
            <a:gdLst>
              <a:gd name="connsiteX0" fmla="*/ 0 w 1097280"/>
              <a:gd name="connsiteY0" fmla="*/ 3688080 h 3688080"/>
              <a:gd name="connsiteX1" fmla="*/ 0 w 1097280"/>
              <a:gd name="connsiteY1" fmla="*/ 0 h 3688080"/>
              <a:gd name="connsiteX2" fmla="*/ 1097280 w 1097280"/>
              <a:gd name="connsiteY2" fmla="*/ 3688080 h 3688080"/>
              <a:gd name="connsiteX3" fmla="*/ 0 w 1097280"/>
              <a:gd name="connsiteY3" fmla="*/ 3688080 h 3688080"/>
              <a:gd name="connsiteX0" fmla="*/ 960120 w 2057400"/>
              <a:gd name="connsiteY0" fmla="*/ 3825240 h 3825240"/>
              <a:gd name="connsiteX1" fmla="*/ 0 w 2057400"/>
              <a:gd name="connsiteY1" fmla="*/ 0 h 3825240"/>
              <a:gd name="connsiteX2" fmla="*/ 2057400 w 2057400"/>
              <a:gd name="connsiteY2" fmla="*/ 3825240 h 3825240"/>
              <a:gd name="connsiteX3" fmla="*/ 960120 w 2057400"/>
              <a:gd name="connsiteY3" fmla="*/ 3825240 h 3825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57400" h="3825240">
                <a:moveTo>
                  <a:pt x="960120" y="3825240"/>
                </a:moveTo>
                <a:lnTo>
                  <a:pt x="0" y="0"/>
                </a:lnTo>
                <a:lnTo>
                  <a:pt x="2057400" y="3825240"/>
                </a:lnTo>
                <a:lnTo>
                  <a:pt x="960120" y="3825240"/>
                </a:lnTo>
                <a:close/>
              </a:path>
            </a:pathLst>
          </a:custGeom>
          <a:solidFill>
            <a:srgbClr val="304B8F"/>
          </a:solidFill>
          <a:ln>
            <a:solidFill>
              <a:srgbClr val="304B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자유형: 도형 33">
            <a:extLst>
              <a:ext uri="{FF2B5EF4-FFF2-40B4-BE49-F238E27FC236}">
                <a16:creationId xmlns:a16="http://schemas.microsoft.com/office/drawing/2014/main" id="{E51DD70F-DE42-422C-A7E1-581FAE35F361}"/>
              </a:ext>
            </a:extLst>
          </p:cNvPr>
          <p:cNvSpPr/>
          <p:nvPr/>
        </p:nvSpPr>
        <p:spPr>
          <a:xfrm rot="3218114">
            <a:off x="8141045" y="588137"/>
            <a:ext cx="3201175" cy="5926063"/>
          </a:xfrm>
          <a:custGeom>
            <a:avLst/>
            <a:gdLst>
              <a:gd name="connsiteX0" fmla="*/ 1709134 w 3201175"/>
              <a:gd name="connsiteY0" fmla="*/ 0 h 5926063"/>
              <a:gd name="connsiteX1" fmla="*/ 3201175 w 3201175"/>
              <a:gd name="connsiteY1" fmla="*/ 1098611 h 5926063"/>
              <a:gd name="connsiteX2" fmla="*/ 1596321 w 3201175"/>
              <a:gd name="connsiteY2" fmla="*/ 4979027 h 5926063"/>
              <a:gd name="connsiteX3" fmla="*/ 0 w 3201175"/>
              <a:gd name="connsiteY3" fmla="*/ 5926063 h 5926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1175" h="5926063">
                <a:moveTo>
                  <a:pt x="1709134" y="0"/>
                </a:moveTo>
                <a:lnTo>
                  <a:pt x="3201175" y="1098611"/>
                </a:lnTo>
                <a:lnTo>
                  <a:pt x="1596321" y="4979027"/>
                </a:lnTo>
                <a:lnTo>
                  <a:pt x="0" y="5926063"/>
                </a:lnTo>
                <a:close/>
              </a:path>
            </a:pathLst>
          </a:custGeom>
          <a:solidFill>
            <a:srgbClr val="365597"/>
          </a:solidFill>
          <a:ln>
            <a:solidFill>
              <a:srgbClr val="36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ko-KR" altLang="en-US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5E7A525-CB26-4BB9-B788-94D77C611E1B}"/>
              </a:ext>
            </a:extLst>
          </p:cNvPr>
          <p:cNvSpPr/>
          <p:nvPr/>
        </p:nvSpPr>
        <p:spPr>
          <a:xfrm>
            <a:off x="0" y="0"/>
            <a:ext cx="464820" cy="392992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B455D1F6-AC98-42A7-A49F-B9B8979EFB9C}"/>
              </a:ext>
            </a:extLst>
          </p:cNvPr>
          <p:cNvSpPr/>
          <p:nvPr/>
        </p:nvSpPr>
        <p:spPr>
          <a:xfrm rot="5400000">
            <a:off x="5905500" y="-5440680"/>
            <a:ext cx="381000" cy="1126236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FAA32E76-D9AF-457D-A849-4CE6AA3C8A41}"/>
              </a:ext>
            </a:extLst>
          </p:cNvPr>
          <p:cNvSpPr/>
          <p:nvPr/>
        </p:nvSpPr>
        <p:spPr>
          <a:xfrm>
            <a:off x="11727180" y="0"/>
            <a:ext cx="464820" cy="3727048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54EBCAD0-28BF-4F41-9FF9-24637DB83F93}"/>
              </a:ext>
            </a:extLst>
          </p:cNvPr>
          <p:cNvSpPr/>
          <p:nvPr/>
        </p:nvSpPr>
        <p:spPr>
          <a:xfrm>
            <a:off x="11727180" y="3727048"/>
            <a:ext cx="464820" cy="124430"/>
          </a:xfrm>
          <a:custGeom>
            <a:avLst/>
            <a:gdLst>
              <a:gd name="connsiteX0" fmla="*/ 0 w 464820"/>
              <a:gd name="connsiteY0" fmla="*/ 0 h 124430"/>
              <a:gd name="connsiteX1" fmla="*/ 464820 w 464820"/>
              <a:gd name="connsiteY1" fmla="*/ 0 h 124430"/>
              <a:gd name="connsiteX2" fmla="*/ 464820 w 464820"/>
              <a:gd name="connsiteY2" fmla="*/ 124430 h 124430"/>
              <a:gd name="connsiteX3" fmla="*/ 0 w 464820"/>
              <a:gd name="connsiteY3" fmla="*/ 124430 h 124430"/>
              <a:gd name="connsiteX4" fmla="*/ 0 w 464820"/>
              <a:gd name="connsiteY4" fmla="*/ 0 h 124430"/>
              <a:gd name="connsiteX0" fmla="*/ 0 w 464820"/>
              <a:gd name="connsiteY0" fmla="*/ 0 h 124430"/>
              <a:gd name="connsiteX1" fmla="*/ 464820 w 464820"/>
              <a:gd name="connsiteY1" fmla="*/ 0 h 124430"/>
              <a:gd name="connsiteX2" fmla="*/ 457200 w 464820"/>
              <a:gd name="connsiteY2" fmla="*/ 17750 h 124430"/>
              <a:gd name="connsiteX3" fmla="*/ 0 w 464820"/>
              <a:gd name="connsiteY3" fmla="*/ 124430 h 124430"/>
              <a:gd name="connsiteX4" fmla="*/ 0 w 464820"/>
              <a:gd name="connsiteY4" fmla="*/ 0 h 124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124430">
                <a:moveTo>
                  <a:pt x="0" y="0"/>
                </a:moveTo>
                <a:lnTo>
                  <a:pt x="464820" y="0"/>
                </a:lnTo>
                <a:lnTo>
                  <a:pt x="457200" y="17750"/>
                </a:lnTo>
                <a:lnTo>
                  <a:pt x="0" y="12443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F6408E02-E0E7-4925-BF36-8FE41C7F05B0}"/>
              </a:ext>
            </a:extLst>
          </p:cNvPr>
          <p:cNvSpPr/>
          <p:nvPr/>
        </p:nvSpPr>
        <p:spPr>
          <a:xfrm>
            <a:off x="0" y="3929920"/>
            <a:ext cx="464820" cy="399681"/>
          </a:xfrm>
          <a:custGeom>
            <a:avLst/>
            <a:gdLst>
              <a:gd name="connsiteX0" fmla="*/ 0 w 464820"/>
              <a:gd name="connsiteY0" fmla="*/ 0 h 399681"/>
              <a:gd name="connsiteX1" fmla="*/ 464820 w 464820"/>
              <a:gd name="connsiteY1" fmla="*/ 0 h 399681"/>
              <a:gd name="connsiteX2" fmla="*/ 464820 w 464820"/>
              <a:gd name="connsiteY2" fmla="*/ 399681 h 399681"/>
              <a:gd name="connsiteX3" fmla="*/ 0 w 464820"/>
              <a:gd name="connsiteY3" fmla="*/ 399681 h 399681"/>
              <a:gd name="connsiteX4" fmla="*/ 0 w 464820"/>
              <a:gd name="connsiteY4" fmla="*/ 0 h 399681"/>
              <a:gd name="connsiteX0" fmla="*/ 0 w 464820"/>
              <a:gd name="connsiteY0" fmla="*/ 0 h 399681"/>
              <a:gd name="connsiteX1" fmla="*/ 464820 w 464820"/>
              <a:gd name="connsiteY1" fmla="*/ 0 h 399681"/>
              <a:gd name="connsiteX2" fmla="*/ 455295 w 464820"/>
              <a:gd name="connsiteY2" fmla="*/ 140601 h 399681"/>
              <a:gd name="connsiteX3" fmla="*/ 0 w 464820"/>
              <a:gd name="connsiteY3" fmla="*/ 399681 h 399681"/>
              <a:gd name="connsiteX4" fmla="*/ 0 w 464820"/>
              <a:gd name="connsiteY4" fmla="*/ 0 h 399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399681">
                <a:moveTo>
                  <a:pt x="0" y="0"/>
                </a:moveTo>
                <a:lnTo>
                  <a:pt x="464820" y="0"/>
                </a:lnTo>
                <a:lnTo>
                  <a:pt x="455295" y="140601"/>
                </a:lnTo>
                <a:lnTo>
                  <a:pt x="0" y="39968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04B4949-8EC5-4D6B-AAFD-3D2BB466BE40}"/>
              </a:ext>
            </a:extLst>
          </p:cNvPr>
          <p:cNvSpPr txBox="1"/>
          <p:nvPr/>
        </p:nvSpPr>
        <p:spPr>
          <a:xfrm>
            <a:off x="1017227" y="4602540"/>
            <a:ext cx="1015754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000" dirty="0"/>
              <a:t>Chest X-rays image captioning</a:t>
            </a:r>
            <a:endParaRPr lang="ko-KR" altLang="en-US" sz="5000" dirty="0">
              <a:solidFill>
                <a:srgbClr val="1D2D6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6A88A032-AB2E-4B44-861E-4A82DC9B87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87951" y="5752602"/>
            <a:ext cx="2015489" cy="718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3771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D6D41772-7D4D-8445-B358-C4A0F1258BFB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7C29DED4-7AC7-354E-8FB8-86FA4560089B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FA2850DD-B4E5-7848-9B90-ED6403775D73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EDB2AD74-809A-054A-8B69-1003858A8EC4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03BD0480-986A-FD46-9C75-108CDC190EE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7F53FB81-F020-0A42-9C62-604269763C8A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49EE429D-B864-E74A-9DC7-D36340657746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43B53A4D-7926-3946-A873-A537C6E16F9E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6FB0927B-249A-0043-96D7-91F1D58B6D8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C56E94BD-82CB-6143-93D9-A271F0ECD1B2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B21A9831-5EC0-3A47-BE21-4D86E3906C84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FC2686D7-AE02-DD40-B2A3-536556AC8E7F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391EF3F4-E030-4043-94E2-069F8CE85DDC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1C0526A8-E820-694F-91EB-73EFD442FF25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FFEB3D48-E0E1-844F-8688-D638A171A2CE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B6C2585B-FA89-6147-AB7C-97EA6EBDFC15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2C4393B7-8248-5D41-9F2D-573598C76B32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56599F30-31D9-754F-896C-63F2DE0AF992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889474D3-07CA-AF4E-BE3C-EF857AA1AE54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074AACE3-7D3E-2E4F-A57A-7F59AD688A5B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2A2218-1438-7340-8641-95C3B850E427}"/>
              </a:ext>
            </a:extLst>
          </p:cNvPr>
          <p:cNvSpPr/>
          <p:nvPr/>
        </p:nvSpPr>
        <p:spPr>
          <a:xfrm>
            <a:off x="917876" y="45375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ko-KR" altLang="en-US" dirty="0">
                <a:solidFill>
                  <a:schemeClr val="tx1"/>
                </a:solidFill>
              </a:rPr>
              <a:t>     </a:t>
            </a:r>
            <a:r>
              <a:rPr kumimoji="1" lang="en-US" altLang="ko-KR" dirty="0">
                <a:solidFill>
                  <a:schemeClr val="tx1"/>
                </a:solidFill>
              </a:rPr>
              <a:t>introduce</a:t>
            </a:r>
            <a:endParaRPr kumimoji="1" lang="ko-KR" altLang="en-US" dirty="0">
              <a:solidFill>
                <a:schemeClr val="tx1"/>
              </a:solidFill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5B9209E-A87C-6E42-BEA2-F6FE256BE089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3CE1CE3B-0D8A-B148-8FDB-1D11A01A5468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D649AE3-AF5A-594B-96AA-9F5B204155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5A4F7E97-FD14-F145-9105-D33D69282FA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7D317237-3DC3-F84B-A42A-7C1B719A2173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DC14D86B-2D6A-3E48-B455-31E4483AB054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55258E2F-95FA-854D-9CA0-99F996940363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8FCC1A8-5E2C-7A48-8867-4710FEA01A57}"/>
              </a:ext>
            </a:extLst>
          </p:cNvPr>
          <p:cNvSpPr txBox="1"/>
          <p:nvPr/>
        </p:nvSpPr>
        <p:spPr>
          <a:xfrm>
            <a:off x="980876" y="380426"/>
            <a:ext cx="573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1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F0CBD1A1-A79A-7B4D-AD35-AA3E31BCD614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89" name="그룹 88">
            <a:extLst>
              <a:ext uri="{FF2B5EF4-FFF2-40B4-BE49-F238E27FC236}">
                <a16:creationId xmlns:a16="http://schemas.microsoft.com/office/drawing/2014/main" id="{2866E613-5D56-BA44-BFF0-D35221A393F1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85" name="모서리가 둥근 직사각형 84">
              <a:extLst>
                <a:ext uri="{FF2B5EF4-FFF2-40B4-BE49-F238E27FC236}">
                  <a16:creationId xmlns:a16="http://schemas.microsoft.com/office/drawing/2014/main" id="{83EECB7C-B5D7-B940-B4E0-67CC2E5F9460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6" name="모서리가 둥근 직사각형 85">
              <a:extLst>
                <a:ext uri="{FF2B5EF4-FFF2-40B4-BE49-F238E27FC236}">
                  <a16:creationId xmlns:a16="http://schemas.microsoft.com/office/drawing/2014/main" id="{7B9D4BEA-BAA9-B144-8E4A-47F5767C08FC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87" name="모서리가 둥근 직사각형 86">
              <a:extLst>
                <a:ext uri="{FF2B5EF4-FFF2-40B4-BE49-F238E27FC236}">
                  <a16:creationId xmlns:a16="http://schemas.microsoft.com/office/drawing/2014/main" id="{85F072E6-D295-B343-BCB0-96951781FB8E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88" name="모서리가 둥근 직사각형 87">
              <a:extLst>
                <a:ext uri="{FF2B5EF4-FFF2-40B4-BE49-F238E27FC236}">
                  <a16:creationId xmlns:a16="http://schemas.microsoft.com/office/drawing/2014/main" id="{8E8D3DB9-F849-4E4F-833B-EE16CE68639E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C13FFF33-76C8-A542-B785-75931D9C9353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9666156" y="1530814"/>
            <a:ext cx="1523421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cxnSp>
        <p:nvCxnSpPr>
          <p:cNvPr id="116" name="직선 연결선[R] 115">
            <a:extLst>
              <a:ext uri="{FF2B5EF4-FFF2-40B4-BE49-F238E27FC236}">
                <a16:creationId xmlns:a16="http://schemas.microsoft.com/office/drawing/2014/main" id="{126AE1ED-42F9-DC4A-8B21-A7E89D20AD0A}"/>
              </a:ext>
            </a:extLst>
          </p:cNvPr>
          <p:cNvCxnSpPr>
            <a:cxnSpLocks/>
          </p:cNvCxnSpPr>
          <p:nvPr/>
        </p:nvCxnSpPr>
        <p:spPr>
          <a:xfrm>
            <a:off x="11785494" y="3128095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직선 연결선[R] 116">
            <a:extLst>
              <a:ext uri="{FF2B5EF4-FFF2-40B4-BE49-F238E27FC236}">
                <a16:creationId xmlns:a16="http://schemas.microsoft.com/office/drawing/2014/main" id="{23A0A655-750E-EE4C-A01C-4A04D270B1FB}"/>
              </a:ext>
            </a:extLst>
          </p:cNvPr>
          <p:cNvCxnSpPr>
            <a:cxnSpLocks/>
          </p:cNvCxnSpPr>
          <p:nvPr/>
        </p:nvCxnSpPr>
        <p:spPr>
          <a:xfrm>
            <a:off x="11785494" y="4021439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직선 연결선[R] 117">
            <a:extLst>
              <a:ext uri="{FF2B5EF4-FFF2-40B4-BE49-F238E27FC236}">
                <a16:creationId xmlns:a16="http://schemas.microsoft.com/office/drawing/2014/main" id="{D47AE6B8-EBC1-4C48-A273-BE50A27CCB91}"/>
              </a:ext>
            </a:extLst>
          </p:cNvPr>
          <p:cNvCxnSpPr>
            <a:cxnSpLocks/>
          </p:cNvCxnSpPr>
          <p:nvPr/>
        </p:nvCxnSpPr>
        <p:spPr>
          <a:xfrm>
            <a:off x="11785494" y="4914783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B39F484A-AC7A-A847-B1EA-203ED8C5A4DB}"/>
              </a:ext>
            </a:extLst>
          </p:cNvPr>
          <p:cNvSpPr/>
          <p:nvPr/>
        </p:nvSpPr>
        <p:spPr>
          <a:xfrm>
            <a:off x="11774369" y="1871641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E1FCD51B-4CFF-4D48-9A42-9EDC1078D4A6}"/>
              </a:ext>
            </a:extLst>
          </p:cNvPr>
          <p:cNvSpPr txBox="1"/>
          <p:nvPr/>
        </p:nvSpPr>
        <p:spPr>
          <a:xfrm>
            <a:off x="11829560" y="2103538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1</a:t>
            </a: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FA865D97-A090-194C-88BE-CF1FFDB5C0C6}"/>
              </a:ext>
            </a:extLst>
          </p:cNvPr>
          <p:cNvSpPr/>
          <p:nvPr/>
        </p:nvSpPr>
        <p:spPr>
          <a:xfrm>
            <a:off x="11692678" y="1891791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55FF9543-9DC7-CB4A-9DEB-F12BB2CE6401}"/>
              </a:ext>
            </a:extLst>
          </p:cNvPr>
          <p:cNvSpPr/>
          <p:nvPr/>
        </p:nvSpPr>
        <p:spPr>
          <a:xfrm>
            <a:off x="11692678" y="3147275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sp>
        <p:nvSpPr>
          <p:cNvPr id="127" name="직사각형 126">
            <a:extLst>
              <a:ext uri="{FF2B5EF4-FFF2-40B4-BE49-F238E27FC236}">
                <a16:creationId xmlns:a16="http://schemas.microsoft.com/office/drawing/2014/main" id="{43A98D6C-8096-4D44-8AF8-1119CC9448DA}"/>
              </a:ext>
            </a:extLst>
          </p:cNvPr>
          <p:cNvSpPr/>
          <p:nvPr/>
        </p:nvSpPr>
        <p:spPr>
          <a:xfrm>
            <a:off x="11692678" y="4038192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128" name="직사각형 127">
            <a:extLst>
              <a:ext uri="{FF2B5EF4-FFF2-40B4-BE49-F238E27FC236}">
                <a16:creationId xmlns:a16="http://schemas.microsoft.com/office/drawing/2014/main" id="{8D958237-4DC1-544A-9CBD-397B21E3DB7A}"/>
              </a:ext>
            </a:extLst>
          </p:cNvPr>
          <p:cNvSpPr/>
          <p:nvPr/>
        </p:nvSpPr>
        <p:spPr>
          <a:xfrm>
            <a:off x="11692678" y="4924621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CFE5C14A-6A5F-1D4E-AACD-6290795A0E5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9471140A-AC53-FF43-86A8-7CF43FD9AC99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FE70F178-B020-0448-B3BA-8C65306BB897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2D61BCD9-FAB8-D245-98E4-800A31E25DCB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BABD8095-7230-C14F-BF71-F0CF0E280F51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BD0BCF0D-197F-3747-8462-2F74C6F09622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45C85690-E0AE-FC4A-9AA0-2D9C6A27FC0D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CB4E342F-E2B9-034B-86AF-257B99924775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2AE46567-C279-0F4D-B792-014014F158A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A2D0EF23-6E2E-7E4E-8848-36636389DAF1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47EB3783-BC3E-7143-BC80-F8E1DA55D1B1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4FB244C7-89AD-134E-BA84-0BEEAC3980DB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5B2726A3-B84D-FB4F-B33A-9A4AE40FA55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3ED726EC-D482-DF40-9E2E-4DBCAADA9B73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EAEE6FAB-DDA7-D24A-9220-42716501446D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5A4CC5AC-8F2E-0741-B80E-E835747D5AC0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1D704BED-662B-6B41-BDD7-6ABA48C9AF42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75FE5EC7-8B42-FA49-B2D8-9B793A19896D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A63066D5-D089-8241-80CF-4B11B0322E4E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038DDE3A-4214-C64C-BB3F-5D626FC7BF27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FAB09580-FF0B-5144-B65B-EAEE47522A4D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4FA139C7-427A-5241-93DC-0DF3CB343A07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FDF816DF-5022-AE49-A056-7AF6A5BF4538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01E632-640B-004E-9D29-ECC906FEEC92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88E699D1-E4B4-9448-B419-CE5EA4EBEA59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CED792D6-2807-3543-91E3-C1A0EF3B8BE2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17E51BBD-F0C7-E944-BF55-B5554D620F81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FFF6AC63-694E-1F4D-9955-93C287D6046F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AC33A10-F324-204E-9C89-A50D1260A961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6E47BE37-5146-7841-B92F-8C562D90341D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직사각형 131">
            <a:extLst>
              <a:ext uri="{FF2B5EF4-FFF2-40B4-BE49-F238E27FC236}">
                <a16:creationId xmlns:a16="http://schemas.microsoft.com/office/drawing/2014/main" id="{CC386020-D104-4291-86D0-AF2AC2EBF15A}"/>
              </a:ext>
            </a:extLst>
          </p:cNvPr>
          <p:cNvSpPr/>
          <p:nvPr/>
        </p:nvSpPr>
        <p:spPr>
          <a:xfrm>
            <a:off x="2372360" y="1486994"/>
            <a:ext cx="7218449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8" name="그래픽 7" descr="막대 그래프 상향 추세 단색으로 채워진">
            <a:extLst>
              <a:ext uri="{FF2B5EF4-FFF2-40B4-BE49-F238E27FC236}">
                <a16:creationId xmlns:a16="http://schemas.microsoft.com/office/drawing/2014/main" id="{B516D054-640B-4548-A886-0BEDB81D72C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88910" y="2303550"/>
            <a:ext cx="407155" cy="407155"/>
          </a:xfrm>
          <a:prstGeom prst="rect">
            <a:avLst/>
          </a:prstGeom>
        </p:spPr>
      </p:pic>
      <p:pic>
        <p:nvPicPr>
          <p:cNvPr id="10" name="그래픽 9" descr="그룹 브레인스토밍 단색으로 채워진">
            <a:extLst>
              <a:ext uri="{FF2B5EF4-FFF2-40B4-BE49-F238E27FC236}">
                <a16:creationId xmlns:a16="http://schemas.microsoft.com/office/drawing/2014/main" id="{7D6686E8-633A-4E85-895D-D923A33567C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52300" y="3201603"/>
            <a:ext cx="510098" cy="510098"/>
          </a:xfrm>
          <a:prstGeom prst="rect">
            <a:avLst/>
          </a:prstGeom>
        </p:spPr>
      </p:pic>
      <p:pic>
        <p:nvPicPr>
          <p:cNvPr id="158" name="그림 157">
            <a:extLst>
              <a:ext uri="{FF2B5EF4-FFF2-40B4-BE49-F238E27FC236}">
                <a16:creationId xmlns:a16="http://schemas.microsoft.com/office/drawing/2014/main" id="{34FB8F2A-9C4E-47B6-9E19-C78F3A001D3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35542327-5CF9-DA8D-B014-624347670567}"/>
              </a:ext>
            </a:extLst>
          </p:cNvPr>
          <p:cNvSpPr/>
          <p:nvPr/>
        </p:nvSpPr>
        <p:spPr>
          <a:xfrm>
            <a:off x="942215" y="1796449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tx1"/>
                </a:solidFill>
              </a:rPr>
              <a:t>목적</a:t>
            </a:r>
            <a:r>
              <a:rPr lang="en-US" altLang="ko-KR" dirty="0">
                <a:solidFill>
                  <a:schemeClr val="tx1"/>
                </a:solidFill>
              </a:rPr>
              <a:t>: </a:t>
            </a:r>
            <a:r>
              <a:rPr lang="en-US" altLang="ko-KR" dirty="0" err="1">
                <a:solidFill>
                  <a:schemeClr val="tx1"/>
                </a:solidFill>
              </a:rPr>
              <a:t>Chext</a:t>
            </a:r>
            <a:r>
              <a:rPr lang="en-US" altLang="ko-KR" dirty="0">
                <a:solidFill>
                  <a:schemeClr val="tx1"/>
                </a:solidFill>
              </a:rPr>
              <a:t> x-rays(Indiana university) </a:t>
            </a:r>
            <a:r>
              <a:rPr lang="ko-KR" altLang="en-US" dirty="0">
                <a:solidFill>
                  <a:schemeClr val="tx1"/>
                </a:solidFill>
              </a:rPr>
              <a:t>이미지</a:t>
            </a:r>
            <a:r>
              <a:rPr lang="en-US" altLang="ko-KR" dirty="0">
                <a:solidFill>
                  <a:schemeClr val="tx1"/>
                </a:solidFill>
              </a:rPr>
              <a:t>(</a:t>
            </a:r>
            <a:r>
              <a:rPr lang="en-US" altLang="ko-KR" dirty="0" err="1">
                <a:solidFill>
                  <a:schemeClr val="tx1"/>
                </a:solidFill>
              </a:rPr>
              <a:t>resnet</a:t>
            </a:r>
            <a:r>
              <a:rPr lang="en-US" altLang="ko-KR" dirty="0">
                <a:solidFill>
                  <a:schemeClr val="tx1"/>
                </a:solidFill>
              </a:rPr>
              <a:t>)</a:t>
            </a:r>
            <a:r>
              <a:rPr lang="ko-KR" altLang="en-US" dirty="0">
                <a:solidFill>
                  <a:schemeClr val="tx1"/>
                </a:solidFill>
              </a:rPr>
              <a:t>를 </a:t>
            </a:r>
            <a:r>
              <a:rPr lang="en-US" altLang="ko-KR" dirty="0">
                <a:solidFill>
                  <a:schemeClr val="tx1"/>
                </a:solidFill>
              </a:rPr>
              <a:t>text(</a:t>
            </a:r>
            <a:r>
              <a:rPr lang="en-US" altLang="ko-KR" dirty="0" err="1">
                <a:solidFill>
                  <a:schemeClr val="tx1"/>
                </a:solidFill>
              </a:rPr>
              <a:t>biobert</a:t>
            </a:r>
            <a:r>
              <a:rPr lang="en-US" altLang="ko-KR" dirty="0">
                <a:solidFill>
                  <a:schemeClr val="tx1"/>
                </a:solidFill>
              </a:rPr>
              <a:t>)</a:t>
            </a:r>
            <a:r>
              <a:rPr lang="ko-KR" altLang="en-US" dirty="0">
                <a:solidFill>
                  <a:schemeClr val="tx1"/>
                </a:solidFill>
              </a:rPr>
              <a:t>로 출력하는 </a:t>
            </a:r>
            <a:r>
              <a:rPr lang="en-US" altLang="ko-KR" dirty="0">
                <a:solidFill>
                  <a:schemeClr val="tx1"/>
                </a:solidFill>
              </a:rPr>
              <a:t>Image captioning</a:t>
            </a:r>
            <a:r>
              <a:rPr lang="ko-KR" altLang="en-US" dirty="0">
                <a:solidFill>
                  <a:schemeClr val="tx1"/>
                </a:solidFill>
              </a:rPr>
              <a:t> 구현 하려한다</a:t>
            </a:r>
            <a:r>
              <a:rPr lang="en-US" altLang="ko-KR" dirty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150000"/>
              </a:lnSpc>
            </a:pP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ko-KR" altLang="en-US" sz="1500" dirty="0">
                <a:solidFill>
                  <a:schemeClr val="tx1"/>
                </a:solidFill>
              </a:rPr>
              <a:t>현재 진행 상황</a:t>
            </a:r>
            <a:endParaRPr lang="en-US" altLang="ko-KR" sz="150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sz="1500" dirty="0">
                <a:solidFill>
                  <a:schemeClr val="tx1"/>
                </a:solidFill>
              </a:rPr>
              <a:t>1. Frontal </a:t>
            </a:r>
            <a:r>
              <a:rPr kumimoji="1" lang="ko-KR" altLang="en-US" sz="1500" dirty="0">
                <a:solidFill>
                  <a:schemeClr val="tx1"/>
                </a:solidFill>
              </a:rPr>
              <a:t>이미지 가지고 </a:t>
            </a:r>
            <a:r>
              <a:rPr kumimoji="1" lang="en-US" altLang="ko-KR" sz="1500" dirty="0">
                <a:solidFill>
                  <a:schemeClr val="tx1"/>
                </a:solidFill>
              </a:rPr>
              <a:t>resnet50</a:t>
            </a:r>
            <a:r>
              <a:rPr kumimoji="1" lang="ko-KR" altLang="en-US" sz="1500" dirty="0">
                <a:solidFill>
                  <a:schemeClr val="tx1"/>
                </a:solidFill>
              </a:rPr>
              <a:t>으로 </a:t>
            </a:r>
            <a:r>
              <a:rPr kumimoji="1" lang="en-US" altLang="ko-KR" sz="1500" dirty="0">
                <a:solidFill>
                  <a:schemeClr val="tx1"/>
                </a:solidFill>
              </a:rPr>
              <a:t>pre-training, fine-tuning</a:t>
            </a:r>
            <a:r>
              <a:rPr kumimoji="1" lang="ko-KR" altLang="en-US" sz="1500" dirty="0">
                <a:solidFill>
                  <a:schemeClr val="tx1"/>
                </a:solidFill>
              </a:rPr>
              <a:t>을 실행 후 </a:t>
            </a:r>
            <a:r>
              <a:rPr kumimoji="1" lang="en-US" altLang="ko-KR" sz="1500" dirty="0">
                <a:solidFill>
                  <a:schemeClr val="tx1"/>
                </a:solidFill>
              </a:rPr>
              <a:t>pre-training</a:t>
            </a:r>
            <a:r>
              <a:rPr kumimoji="1" lang="ko-KR" altLang="en-US" sz="1500" dirty="0">
                <a:solidFill>
                  <a:schemeClr val="tx1"/>
                </a:solidFill>
              </a:rPr>
              <a:t>을 적용하지 않는 모델과 성능 분석</a:t>
            </a:r>
            <a:endParaRPr kumimoji="1" lang="en-US" altLang="ko-KR" sz="150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sz="1500" dirty="0">
                <a:solidFill>
                  <a:schemeClr val="tx1"/>
                </a:solidFill>
              </a:rPr>
              <a:t>2. Frontal </a:t>
            </a:r>
            <a:r>
              <a:rPr kumimoji="1" lang="ko-KR" altLang="en-US" sz="1500" dirty="0">
                <a:solidFill>
                  <a:schemeClr val="tx1"/>
                </a:solidFill>
              </a:rPr>
              <a:t>이미지 가지고 </a:t>
            </a:r>
            <a:r>
              <a:rPr kumimoji="1" lang="en-US" altLang="ko-KR" sz="1500" dirty="0">
                <a:solidFill>
                  <a:schemeClr val="tx1"/>
                </a:solidFill>
              </a:rPr>
              <a:t>Bert</a:t>
            </a:r>
            <a:r>
              <a:rPr kumimoji="1" lang="ko-KR" altLang="en-US" sz="1500" dirty="0">
                <a:solidFill>
                  <a:schemeClr val="tx1"/>
                </a:solidFill>
              </a:rPr>
              <a:t>를 이용하여 항목에 있는 </a:t>
            </a:r>
            <a:r>
              <a:rPr kumimoji="1" lang="en-US" altLang="ko-KR" sz="1500" dirty="0">
                <a:solidFill>
                  <a:schemeClr val="tx1"/>
                </a:solidFill>
              </a:rPr>
              <a:t>masked token</a:t>
            </a:r>
            <a:r>
              <a:rPr kumimoji="1" lang="ko-KR" altLang="en-US" sz="1500" dirty="0">
                <a:solidFill>
                  <a:schemeClr val="tx1"/>
                </a:solidFill>
              </a:rPr>
              <a:t>을 가지고 </a:t>
            </a:r>
            <a:r>
              <a:rPr kumimoji="1" lang="en-US" altLang="ko-KR" sz="1500" dirty="0">
                <a:solidFill>
                  <a:schemeClr val="tx1"/>
                </a:solidFill>
              </a:rPr>
              <a:t>MLM </a:t>
            </a:r>
            <a:r>
              <a:rPr kumimoji="1" lang="ko-KR" altLang="en-US" sz="1500" dirty="0">
                <a:solidFill>
                  <a:schemeClr val="tx1"/>
                </a:solidFill>
              </a:rPr>
              <a:t>구현 및 </a:t>
            </a:r>
            <a:r>
              <a:rPr kumimoji="1" lang="en-US" altLang="ko-KR" sz="1500" dirty="0">
                <a:solidFill>
                  <a:schemeClr val="tx1"/>
                </a:solidFill>
              </a:rPr>
              <a:t>masked token </a:t>
            </a:r>
            <a:r>
              <a:rPr kumimoji="1" lang="ko-KR" altLang="en-US" sz="1500" dirty="0">
                <a:solidFill>
                  <a:schemeClr val="tx1"/>
                </a:solidFill>
              </a:rPr>
              <a:t>예측 학습</a:t>
            </a:r>
          </a:p>
        </p:txBody>
      </p:sp>
      <p:sp>
        <p:nvSpPr>
          <p:cNvPr id="2" name="AutoShape 2" descr="업로드한 이미지">
            <a:extLst>
              <a:ext uri="{FF2B5EF4-FFF2-40B4-BE49-F238E27FC236}">
                <a16:creationId xmlns:a16="http://schemas.microsoft.com/office/drawing/2014/main" id="{7040AA4D-0894-1C17-9337-FADE49AD585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5" name="AutoShape 6" descr="업로드한 이미지">
            <a:extLst>
              <a:ext uri="{FF2B5EF4-FFF2-40B4-BE49-F238E27FC236}">
                <a16:creationId xmlns:a16="http://schemas.microsoft.com/office/drawing/2014/main" id="{6B068385-118B-4A2E-6FFB-48382FFB516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pic>
        <p:nvPicPr>
          <p:cNvPr id="35" name="그림 34" descr="텍스트, 스크린샷, 폰트, 플래시 메모리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BEF2014A-72EF-6DCA-6576-CED57ED8DF7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89395" y="2464347"/>
            <a:ext cx="8529748" cy="2743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8396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D6D41772-7D4D-8445-B358-C4A0F1258BFB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7C29DED4-7AC7-354E-8FB8-86FA4560089B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FA2850DD-B4E5-7848-9B90-ED6403775D73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EDB2AD74-809A-054A-8B69-1003858A8EC4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03BD0480-986A-FD46-9C75-108CDC190EE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7F53FB81-F020-0A42-9C62-604269763C8A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49EE429D-B864-E74A-9DC7-D36340657746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43B53A4D-7926-3946-A873-A537C6E16F9E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6FB0927B-249A-0043-96D7-91F1D58B6D8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C56E94BD-82CB-6143-93D9-A271F0ECD1B2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B21A9831-5EC0-3A47-BE21-4D86E3906C84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FC2686D7-AE02-DD40-B2A3-536556AC8E7F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391EF3F4-E030-4043-94E2-069F8CE85DDC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1C0526A8-E820-694F-91EB-73EFD442FF25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FFEB3D48-E0E1-844F-8688-D638A171A2CE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B6C2585B-FA89-6147-AB7C-97EA6EBDFC15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2C4393B7-8248-5D41-9F2D-573598C76B32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56599F30-31D9-754F-896C-63F2DE0AF992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889474D3-07CA-AF4E-BE3C-EF857AA1AE54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074AACE3-7D3E-2E4F-A57A-7F59AD688A5B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2A2218-1438-7340-8641-95C3B850E427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5B9209E-A87C-6E42-BEA2-F6FE256BE089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3CE1CE3B-0D8A-B148-8FDB-1D11A01A5468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D649AE3-AF5A-594B-96AA-9F5B204155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5A4F7E97-FD14-F145-9105-D33D69282FA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7D317237-3DC3-F84B-A42A-7C1B719A2173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DC14D86B-2D6A-3E48-B455-31E4483AB054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55258E2F-95FA-854D-9CA0-99F996940363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8FCC1A8-5E2C-7A48-8867-4710FEA01A57}"/>
              </a:ext>
            </a:extLst>
          </p:cNvPr>
          <p:cNvSpPr txBox="1"/>
          <p:nvPr/>
        </p:nvSpPr>
        <p:spPr>
          <a:xfrm>
            <a:off x="949873" y="380426"/>
            <a:ext cx="52456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2. </a:t>
            </a:r>
            <a:r>
              <a:rPr kumimoji="1" lang="ko-KR" altLang="en-US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실험 과정</a:t>
            </a: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F0CBD1A1-A79A-7B4D-AD35-AA3E31BCD614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C13FFF33-76C8-A542-B785-75931D9C9353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968492" y="150006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9666156" y="1530814"/>
            <a:ext cx="1523421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CFE5C14A-6A5F-1D4E-AACD-6290795A0E5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9471140A-AC53-FF43-86A8-7CF43FD9AC99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FE70F178-B020-0448-B3BA-8C65306BB897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2D61BCD9-FAB8-D245-98E4-800A31E25DCB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BABD8095-7230-C14F-BF71-F0CF0E280F51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BD0BCF0D-197F-3747-8462-2F74C6F09622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45C85690-E0AE-FC4A-9AA0-2D9C6A27FC0D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CB4E342F-E2B9-034B-86AF-257B99924775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2AE46567-C279-0F4D-B792-014014F158A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A2D0EF23-6E2E-7E4E-8848-36636389DAF1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47EB3783-BC3E-7143-BC80-F8E1DA55D1B1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4FB244C7-89AD-134E-BA84-0BEEAC3980DB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5B2726A3-B84D-FB4F-B33A-9A4AE40FA55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3ED726EC-D482-DF40-9E2E-4DBCAADA9B73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EAEE6FAB-DDA7-D24A-9220-42716501446D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5A4CC5AC-8F2E-0741-B80E-E835747D5AC0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1D704BED-662B-6B41-BDD7-6ABA48C9AF42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75FE5EC7-8B42-FA49-B2D8-9B793A19896D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A63066D5-D089-8241-80CF-4B11B0322E4E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038DDE3A-4214-C64C-BB3F-5D626FC7BF27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FAB09580-FF0B-5144-B65B-EAEE47522A4D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4FA139C7-427A-5241-93DC-0DF3CB343A07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FDF816DF-5022-AE49-A056-7AF6A5BF4538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01E632-640B-004E-9D29-ECC906FEEC92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88E699D1-E4B4-9448-B419-CE5EA4EBEA59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CED792D6-2807-3543-91E3-C1A0EF3B8BE2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17E51BBD-F0C7-E944-BF55-B5554D620F81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FFF6AC63-694E-1F4D-9955-93C287D6046F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AC33A10-F324-204E-9C89-A50D1260A961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6E47BE37-5146-7841-B92F-8C562D90341D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28DDF8A4-32BE-FD41-AD93-E8A70FA1DBC0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E0F41D8A-A7DE-4A42-B270-E026976E1F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cxnSp>
        <p:nvCxnSpPr>
          <p:cNvPr id="193" name="직선 연결선 57">
            <a:extLst>
              <a:ext uri="{FF2B5EF4-FFF2-40B4-BE49-F238E27FC236}">
                <a16:creationId xmlns:a16="http://schemas.microsoft.com/office/drawing/2014/main" id="{5915401D-91B7-4054-B8A6-A88C9C16D201}"/>
              </a:ext>
            </a:extLst>
          </p:cNvPr>
          <p:cNvCxnSpPr/>
          <p:nvPr/>
        </p:nvCxnSpPr>
        <p:spPr>
          <a:xfrm>
            <a:off x="7419444" y="2542011"/>
            <a:ext cx="0" cy="2918158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2" name="그래픽 181" descr="자물쇠 단색으로 채워진">
            <a:extLst>
              <a:ext uri="{FF2B5EF4-FFF2-40B4-BE49-F238E27FC236}">
                <a16:creationId xmlns:a16="http://schemas.microsoft.com/office/drawing/2014/main" id="{2458B029-A618-4D53-A06E-EC1AE80808D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34276" y="4558128"/>
            <a:ext cx="362000" cy="362000"/>
          </a:xfrm>
          <a:prstGeom prst="rect">
            <a:avLst/>
          </a:prstGeom>
        </p:spPr>
      </p:pic>
      <p:pic>
        <p:nvPicPr>
          <p:cNvPr id="192" name="그래픽 191" descr="서적 단색으로 채워진">
            <a:extLst>
              <a:ext uri="{FF2B5EF4-FFF2-40B4-BE49-F238E27FC236}">
                <a16:creationId xmlns:a16="http://schemas.microsoft.com/office/drawing/2014/main" id="{4C514C4E-6B00-4CF4-AE7A-C340E1E028D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85041" y="2352177"/>
            <a:ext cx="267017" cy="267017"/>
          </a:xfrm>
          <a:prstGeom prst="rect">
            <a:avLst/>
          </a:prstGeom>
        </p:spPr>
      </p:pic>
      <p:cxnSp>
        <p:nvCxnSpPr>
          <p:cNvPr id="208" name="직선 연결선[R] 116">
            <a:extLst>
              <a:ext uri="{FF2B5EF4-FFF2-40B4-BE49-F238E27FC236}">
                <a16:creationId xmlns:a16="http://schemas.microsoft.com/office/drawing/2014/main" id="{C4FA6C6B-4CB5-49DF-BB08-5730A5219511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직사각형 216">
            <a:extLst>
              <a:ext uri="{FF2B5EF4-FFF2-40B4-BE49-F238E27FC236}">
                <a16:creationId xmlns:a16="http://schemas.microsoft.com/office/drawing/2014/main" id="{F741B41B-5570-4BCD-B038-2A0070561FF2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219" name="직사각형 218">
            <a:extLst>
              <a:ext uri="{FF2B5EF4-FFF2-40B4-BE49-F238E27FC236}">
                <a16:creationId xmlns:a16="http://schemas.microsoft.com/office/drawing/2014/main" id="{4E58C71C-4305-4849-896B-DC0DBFD2DE90}"/>
              </a:ext>
            </a:extLst>
          </p:cNvPr>
          <p:cNvSpPr/>
          <p:nvPr/>
        </p:nvSpPr>
        <p:spPr>
          <a:xfrm>
            <a:off x="11692678" y="3768053"/>
            <a:ext cx="48554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  <a:p>
            <a:pPr algn="ctr"/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226" name="직사각형 225">
            <a:extLst>
              <a:ext uri="{FF2B5EF4-FFF2-40B4-BE49-F238E27FC236}">
                <a16:creationId xmlns:a16="http://schemas.microsoft.com/office/drawing/2014/main" id="{88FB0E76-AAE0-4457-8C7E-681475670DA5}"/>
              </a:ext>
            </a:extLst>
          </p:cNvPr>
          <p:cNvSpPr/>
          <p:nvPr/>
        </p:nvSpPr>
        <p:spPr>
          <a:xfrm>
            <a:off x="11692678" y="2834264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cxnSp>
        <p:nvCxnSpPr>
          <p:cNvPr id="248" name="직선 연결선[R] 111">
            <a:extLst>
              <a:ext uri="{FF2B5EF4-FFF2-40B4-BE49-F238E27FC236}">
                <a16:creationId xmlns:a16="http://schemas.microsoft.com/office/drawing/2014/main" id="{71ACFEC1-B430-4801-BF38-FE9376557F49}"/>
              </a:ext>
            </a:extLst>
          </p:cNvPr>
          <p:cNvCxnSpPr>
            <a:cxnSpLocks/>
          </p:cNvCxnSpPr>
          <p:nvPr/>
        </p:nvCxnSpPr>
        <p:spPr>
          <a:xfrm>
            <a:off x="11785494" y="2825264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직선 연결선[R] 112">
            <a:extLst>
              <a:ext uri="{FF2B5EF4-FFF2-40B4-BE49-F238E27FC236}">
                <a16:creationId xmlns:a16="http://schemas.microsoft.com/office/drawing/2014/main" id="{D49DDF53-EEE4-4CF4-B9F1-1224A7A2A7BB}"/>
              </a:ext>
            </a:extLst>
          </p:cNvPr>
          <p:cNvCxnSpPr>
            <a:cxnSpLocks/>
          </p:cNvCxnSpPr>
          <p:nvPr/>
        </p:nvCxnSpPr>
        <p:spPr>
          <a:xfrm>
            <a:off x="11785494" y="3759054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3" name="직사각형 262">
            <a:extLst>
              <a:ext uri="{FF2B5EF4-FFF2-40B4-BE49-F238E27FC236}">
                <a16:creationId xmlns:a16="http://schemas.microsoft.com/office/drawing/2014/main" id="{D09F0CBB-7FCA-49D6-81AA-2C60E149E3FD}"/>
              </a:ext>
            </a:extLst>
          </p:cNvPr>
          <p:cNvSpPr/>
          <p:nvPr/>
        </p:nvSpPr>
        <p:spPr>
          <a:xfrm>
            <a:off x="11789546" y="4763042"/>
            <a:ext cx="402454" cy="1207161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676CB37E-5A7E-42B4-BC61-6FF47FAA7055}"/>
              </a:ext>
            </a:extLst>
          </p:cNvPr>
          <p:cNvSpPr txBox="1"/>
          <p:nvPr/>
        </p:nvSpPr>
        <p:spPr>
          <a:xfrm>
            <a:off x="11829560" y="5017150"/>
            <a:ext cx="2160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별첨</a:t>
            </a:r>
            <a:endParaRPr kumimoji="1" lang="en-US" altLang="ko-KR" sz="800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66ACCF17-061D-4831-B2D1-2F73437D1C64}"/>
              </a:ext>
            </a:extLst>
          </p:cNvPr>
          <p:cNvSpPr/>
          <p:nvPr/>
        </p:nvSpPr>
        <p:spPr>
          <a:xfrm>
            <a:off x="11692678" y="4805403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</a:p>
        </p:txBody>
      </p:sp>
      <p:grpSp>
        <p:nvGrpSpPr>
          <p:cNvPr id="266" name="그룹 265">
            <a:extLst>
              <a:ext uri="{FF2B5EF4-FFF2-40B4-BE49-F238E27FC236}">
                <a16:creationId xmlns:a16="http://schemas.microsoft.com/office/drawing/2014/main" id="{3AC59D65-3C90-466E-8A51-C4BA4B233C59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267" name="모서리가 둥근 직사각형 94">
              <a:extLst>
                <a:ext uri="{FF2B5EF4-FFF2-40B4-BE49-F238E27FC236}">
                  <a16:creationId xmlns:a16="http://schemas.microsoft.com/office/drawing/2014/main" id="{62D3BC54-6A98-4A2A-9CEE-9B20C8BD8FE3}"/>
                </a:ext>
              </a:extLst>
            </p:cNvPr>
            <p:cNvSpPr/>
            <p:nvPr/>
          </p:nvSpPr>
          <p:spPr>
            <a:xfrm>
              <a:off x="11264183" y="271844"/>
              <a:ext cx="236540" cy="133554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68" name="모서리가 둥근 직사각형 97">
              <a:extLst>
                <a:ext uri="{FF2B5EF4-FFF2-40B4-BE49-F238E27FC236}">
                  <a16:creationId xmlns:a16="http://schemas.microsoft.com/office/drawing/2014/main" id="{F8D89CB3-9488-413F-8A9E-F3FF3DB79D98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69" name="모서리가 둥근 직사각형 108">
              <a:extLst>
                <a:ext uri="{FF2B5EF4-FFF2-40B4-BE49-F238E27FC236}">
                  <a16:creationId xmlns:a16="http://schemas.microsoft.com/office/drawing/2014/main" id="{81C9E5CA-670E-4B3B-91D9-5DD392F46FB5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70" name="모서리가 둥근 직사각형 117">
              <a:extLst>
                <a:ext uri="{FF2B5EF4-FFF2-40B4-BE49-F238E27FC236}">
                  <a16:creationId xmlns:a16="http://schemas.microsoft.com/office/drawing/2014/main" id="{3057BB68-4350-46F4-BFB5-9B786900080B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" name="직사각형 1">
            <a:extLst>
              <a:ext uri="{FF2B5EF4-FFF2-40B4-BE49-F238E27FC236}">
                <a16:creationId xmlns:a16="http://schemas.microsoft.com/office/drawing/2014/main" id="{713E9A0A-6C1F-2D0E-B0B9-4A988EBBD56D}"/>
              </a:ext>
            </a:extLst>
          </p:cNvPr>
          <p:cNvSpPr/>
          <p:nvPr/>
        </p:nvSpPr>
        <p:spPr>
          <a:xfrm>
            <a:off x="925830" y="1885163"/>
            <a:ext cx="1026374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ko-KR" sz="2000" dirty="0">
                <a:solidFill>
                  <a:schemeClr val="tx1"/>
                </a:solidFill>
              </a:rPr>
              <a:t>1. Frontal </a:t>
            </a:r>
            <a:r>
              <a:rPr kumimoji="1" lang="ko-KR" altLang="en-US" sz="2000" dirty="0">
                <a:solidFill>
                  <a:schemeClr val="tx1"/>
                </a:solidFill>
              </a:rPr>
              <a:t>이미지 가지고 </a:t>
            </a:r>
            <a:r>
              <a:rPr kumimoji="1" lang="en-US" altLang="ko-KR" sz="2000" dirty="0">
                <a:solidFill>
                  <a:schemeClr val="tx1"/>
                </a:solidFill>
              </a:rPr>
              <a:t>resnet50</a:t>
            </a:r>
            <a:r>
              <a:rPr kumimoji="1" lang="ko-KR" altLang="en-US" sz="2000" dirty="0">
                <a:solidFill>
                  <a:schemeClr val="tx1"/>
                </a:solidFill>
              </a:rPr>
              <a:t>으로 </a:t>
            </a:r>
            <a:r>
              <a:rPr kumimoji="1" lang="en-US" altLang="ko-KR" sz="2000" dirty="0">
                <a:solidFill>
                  <a:schemeClr val="tx1"/>
                </a:solidFill>
              </a:rPr>
              <a:t>pre-training, fine-tuning</a:t>
            </a:r>
            <a:r>
              <a:rPr kumimoji="1" lang="ko-KR" altLang="en-US" sz="2000" dirty="0">
                <a:solidFill>
                  <a:schemeClr val="tx1"/>
                </a:solidFill>
              </a:rPr>
              <a:t>을 실행 후 </a:t>
            </a:r>
            <a:r>
              <a:rPr kumimoji="1" lang="en-US" altLang="ko-KR" sz="2000" dirty="0">
                <a:solidFill>
                  <a:schemeClr val="tx1"/>
                </a:solidFill>
              </a:rPr>
              <a:t>pre-training</a:t>
            </a:r>
            <a:r>
              <a:rPr kumimoji="1" lang="ko-KR" altLang="en-US" sz="2000" dirty="0">
                <a:solidFill>
                  <a:schemeClr val="tx1"/>
                </a:solidFill>
              </a:rPr>
              <a:t>을 적용하지 않는 모델과 성능 분석</a:t>
            </a:r>
            <a:endParaRPr kumimoji="1" lang="en-US" altLang="ko-KR" sz="2000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r>
              <a:rPr kumimoji="1" lang="en-US" altLang="ko-KR" dirty="0">
                <a:solidFill>
                  <a:schemeClr val="tx1"/>
                </a:solidFill>
              </a:rPr>
              <a:t>- resnet50</a:t>
            </a:r>
            <a:r>
              <a:rPr kumimoji="1" lang="ko-KR" altLang="en-US" dirty="0">
                <a:solidFill>
                  <a:schemeClr val="tx1"/>
                </a:solidFill>
              </a:rPr>
              <a:t>으로 </a:t>
            </a:r>
            <a:r>
              <a:rPr kumimoji="1" lang="en-US" altLang="ko-KR" dirty="0">
                <a:solidFill>
                  <a:schemeClr val="tx1"/>
                </a:solidFill>
              </a:rPr>
              <a:t>pre-training(weight=‘</a:t>
            </a:r>
            <a:r>
              <a:rPr kumimoji="1" lang="en-US" altLang="ko-KR" dirty="0" err="1">
                <a:solidFill>
                  <a:schemeClr val="tx1"/>
                </a:solidFill>
              </a:rPr>
              <a:t>imagenet</a:t>
            </a:r>
            <a:r>
              <a:rPr kumimoji="1" lang="en-US" altLang="ko-KR" dirty="0">
                <a:solidFill>
                  <a:schemeClr val="tx1"/>
                </a:solidFill>
              </a:rPr>
              <a:t>’) </a:t>
            </a:r>
            <a:r>
              <a:rPr kumimoji="1" lang="ko-KR" altLang="en-US" dirty="0">
                <a:solidFill>
                  <a:schemeClr val="tx1"/>
                </a:solidFill>
              </a:rPr>
              <a:t>경우와 </a:t>
            </a:r>
            <a:r>
              <a:rPr kumimoji="1" lang="en-US" altLang="ko-KR" dirty="0">
                <a:solidFill>
                  <a:schemeClr val="tx1"/>
                </a:solidFill>
              </a:rPr>
              <a:t>pre-training</a:t>
            </a:r>
            <a:r>
              <a:rPr kumimoji="1" lang="ko-KR" altLang="en-US" dirty="0">
                <a:solidFill>
                  <a:schemeClr val="tx1"/>
                </a:solidFill>
              </a:rPr>
              <a:t>적용하지 않는 경우     </a:t>
            </a:r>
            <a:r>
              <a:rPr kumimoji="1" lang="en-US" altLang="ko-KR" dirty="0">
                <a:solidFill>
                  <a:schemeClr val="tx1"/>
                </a:solidFill>
              </a:rPr>
              <a:t>(weight=None)</a:t>
            </a:r>
            <a:r>
              <a:rPr kumimoji="1" lang="ko-KR" altLang="en-US" dirty="0">
                <a:solidFill>
                  <a:schemeClr val="tx1"/>
                </a:solidFill>
              </a:rPr>
              <a:t>으로 나눔 </a:t>
            </a:r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r>
              <a:rPr kumimoji="1" lang="en-US" altLang="ko-KR" dirty="0">
                <a:solidFill>
                  <a:schemeClr val="tx1"/>
                </a:solidFill>
              </a:rPr>
              <a:t>- model</a:t>
            </a:r>
            <a:r>
              <a:rPr kumimoji="1" lang="ko-KR" altLang="en-US" dirty="0">
                <a:solidFill>
                  <a:schemeClr val="tx1"/>
                </a:solidFill>
              </a:rPr>
              <a:t>을 이진분류</a:t>
            </a:r>
            <a:r>
              <a:rPr kumimoji="1" lang="en-US" altLang="ko-KR" dirty="0">
                <a:solidFill>
                  <a:schemeClr val="tx1"/>
                </a:solidFill>
              </a:rPr>
              <a:t>(label:0,1)</a:t>
            </a:r>
            <a:r>
              <a:rPr kumimoji="1" lang="ko-KR" altLang="en-US" dirty="0">
                <a:solidFill>
                  <a:schemeClr val="tx1"/>
                </a:solidFill>
              </a:rPr>
              <a:t>하기 위해 </a:t>
            </a:r>
            <a:r>
              <a:rPr kumimoji="1" lang="en-US" altLang="ko-KR" dirty="0">
                <a:solidFill>
                  <a:schemeClr val="tx1"/>
                </a:solidFill>
              </a:rPr>
              <a:t>(</a:t>
            </a:r>
            <a:r>
              <a:rPr kumimoji="1" lang="en-US" altLang="ko-KR" dirty="0" err="1">
                <a:solidFill>
                  <a:schemeClr val="tx1"/>
                </a:solidFill>
              </a:rPr>
              <a:t>loss:bce</a:t>
            </a:r>
            <a:r>
              <a:rPr kumimoji="1" lang="en-US" altLang="ko-KR" dirty="0">
                <a:solidFill>
                  <a:schemeClr val="tx1"/>
                </a:solidFill>
              </a:rPr>
              <a:t>, activation </a:t>
            </a:r>
            <a:r>
              <a:rPr kumimoji="1" lang="en-US" altLang="ko-KR" dirty="0" err="1">
                <a:solidFill>
                  <a:schemeClr val="tx1"/>
                </a:solidFill>
              </a:rPr>
              <a:t>function:sigmoid</a:t>
            </a:r>
            <a:r>
              <a:rPr kumimoji="1" lang="en-US" altLang="ko-KR" dirty="0">
                <a:solidFill>
                  <a:schemeClr val="tx1"/>
                </a:solidFill>
              </a:rPr>
              <a:t>)</a:t>
            </a:r>
            <a:r>
              <a:rPr kumimoji="1" lang="ko-KR" altLang="en-US" dirty="0">
                <a:solidFill>
                  <a:schemeClr val="tx1"/>
                </a:solidFill>
              </a:rPr>
              <a:t>로 설정</a:t>
            </a:r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r>
              <a:rPr kumimoji="1" lang="en-US" altLang="ko-KR" dirty="0">
                <a:solidFill>
                  <a:schemeClr val="tx1"/>
                </a:solidFill>
              </a:rPr>
              <a:t>-</a:t>
            </a:r>
            <a:r>
              <a:rPr kumimoji="1" lang="ko-KR" altLang="en-US" dirty="0">
                <a:solidFill>
                  <a:schemeClr val="tx1"/>
                </a:solidFill>
              </a:rPr>
              <a:t> </a:t>
            </a:r>
            <a:r>
              <a:rPr kumimoji="1" lang="en-US" altLang="ko-KR" dirty="0">
                <a:solidFill>
                  <a:schemeClr val="tx1"/>
                </a:solidFill>
              </a:rPr>
              <a:t>fine-tuning </a:t>
            </a:r>
            <a:r>
              <a:rPr kumimoji="1" lang="ko-KR" altLang="en-US" dirty="0">
                <a:solidFill>
                  <a:schemeClr val="tx1"/>
                </a:solidFill>
              </a:rPr>
              <a:t>적용</a:t>
            </a:r>
            <a:r>
              <a:rPr kumimoji="1" lang="en-US" altLang="ko-KR" dirty="0">
                <a:solidFill>
                  <a:schemeClr val="tx1"/>
                </a:solidFill>
              </a:rPr>
              <a:t>(</a:t>
            </a:r>
            <a:r>
              <a:rPr kumimoji="1" lang="en-US" altLang="ko-KR" dirty="0" err="1">
                <a:solidFill>
                  <a:schemeClr val="tx1"/>
                </a:solidFill>
              </a:rPr>
              <a:t>binaray</a:t>
            </a:r>
            <a:r>
              <a:rPr kumimoji="1" lang="en-US" altLang="ko-KR" dirty="0">
                <a:solidFill>
                  <a:schemeClr val="tx1"/>
                </a:solidFill>
              </a:rPr>
              <a:t> classification</a:t>
            </a:r>
            <a:r>
              <a:rPr kumimoji="1" lang="ko-KR" altLang="en-US" dirty="0">
                <a:solidFill>
                  <a:schemeClr val="tx1"/>
                </a:solidFill>
              </a:rPr>
              <a:t>에 적합한 </a:t>
            </a:r>
            <a:r>
              <a:rPr kumimoji="1" lang="en-US" altLang="ko-KR" dirty="0">
                <a:solidFill>
                  <a:schemeClr val="tx1"/>
                </a:solidFill>
              </a:rPr>
              <a:t>layer</a:t>
            </a:r>
            <a:r>
              <a:rPr kumimoji="1" lang="ko-KR" altLang="en-US" dirty="0">
                <a:solidFill>
                  <a:schemeClr val="tx1"/>
                </a:solidFill>
              </a:rPr>
              <a:t>로 교체</a:t>
            </a:r>
            <a:r>
              <a:rPr kumimoji="1" lang="en-US" altLang="ko-KR" dirty="0">
                <a:solidFill>
                  <a:schemeClr val="tx1"/>
                </a:solidFill>
              </a:rPr>
              <a:t>)</a:t>
            </a: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r>
              <a:rPr kumimoji="1" lang="en-US" altLang="ko-KR" dirty="0">
                <a:solidFill>
                  <a:schemeClr val="tx1"/>
                </a:solidFill>
              </a:rPr>
              <a:t>- </a:t>
            </a:r>
            <a:r>
              <a:rPr kumimoji="1" lang="ko-KR" altLang="en-US" dirty="0">
                <a:solidFill>
                  <a:schemeClr val="tx1"/>
                </a:solidFill>
              </a:rPr>
              <a:t>성능 분석을 위해 </a:t>
            </a:r>
            <a:r>
              <a:rPr kumimoji="1" lang="en-US" altLang="ko-KR" dirty="0">
                <a:solidFill>
                  <a:schemeClr val="tx1"/>
                </a:solidFill>
              </a:rPr>
              <a:t>accuracy,precision,recall,f1-score</a:t>
            </a:r>
            <a:r>
              <a:rPr kumimoji="1" lang="ko-KR" altLang="en-US" dirty="0">
                <a:solidFill>
                  <a:schemeClr val="tx1"/>
                </a:solidFill>
              </a:rPr>
              <a:t>값을 구함</a:t>
            </a:r>
            <a:r>
              <a:rPr kumimoji="1" lang="en-US" altLang="ko-KR" dirty="0">
                <a:solidFill>
                  <a:schemeClr val="tx1"/>
                </a:solidFill>
              </a:rPr>
              <a:t>.</a:t>
            </a: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4822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D6D41772-7D4D-8445-B358-C4A0F1258BFB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7C29DED4-7AC7-354E-8FB8-86FA4560089B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FA2850DD-B4E5-7848-9B90-ED6403775D73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EDB2AD74-809A-054A-8B69-1003858A8EC4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03BD0480-986A-FD46-9C75-108CDC190EE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7F53FB81-F020-0A42-9C62-604269763C8A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49EE429D-B864-E74A-9DC7-D36340657746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43B53A4D-7926-3946-A873-A537C6E16F9E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6FB0927B-249A-0043-96D7-91F1D58B6D8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C56E94BD-82CB-6143-93D9-A271F0ECD1B2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B21A9831-5EC0-3A47-BE21-4D86E3906C84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FC2686D7-AE02-DD40-B2A3-536556AC8E7F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391EF3F4-E030-4043-94E2-069F8CE85DDC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1C0526A8-E820-694F-91EB-73EFD442FF25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FFEB3D48-E0E1-844F-8688-D638A171A2CE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B6C2585B-FA89-6147-AB7C-97EA6EBDFC15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2C4393B7-8248-5D41-9F2D-573598C76B32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56599F30-31D9-754F-896C-63F2DE0AF992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889474D3-07CA-AF4E-BE3C-EF857AA1AE54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074AACE3-7D3E-2E4F-A57A-7F59AD688A5B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2A2218-1438-7340-8641-95C3B850E427}"/>
              </a:ext>
            </a:extLst>
          </p:cNvPr>
          <p:cNvSpPr/>
          <p:nvPr/>
        </p:nvSpPr>
        <p:spPr>
          <a:xfrm>
            <a:off x="1300850" y="482074"/>
            <a:ext cx="10956335" cy="3312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ko-KR" altLang="en-US" sz="1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실험 과정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5B9209E-A87C-6E42-BEA2-F6FE256BE089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3CE1CE3B-0D8A-B148-8FDB-1D11A01A5468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D649AE3-AF5A-594B-96AA-9F5B204155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5A4F7E97-FD14-F145-9105-D33D69282FA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7D317237-3DC3-F84B-A42A-7C1B719A2173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DC14D86B-2D6A-3E48-B455-31E4483AB054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55258E2F-95FA-854D-9CA0-99F996940363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8FCC1A8-5E2C-7A48-8867-4710FEA01A57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2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F0CBD1A1-A79A-7B4D-AD35-AA3E31BCD614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C13FFF33-76C8-A542-B785-75931D9C9353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9666156" y="1530814"/>
            <a:ext cx="1523421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CFE5C14A-6A5F-1D4E-AACD-6290795A0E5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9471140A-AC53-FF43-86A8-7CF43FD9AC99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FE70F178-B020-0448-B3BA-8C65306BB897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2D61BCD9-FAB8-D245-98E4-800A31E25DCB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BABD8095-7230-C14F-BF71-F0CF0E280F51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BD0BCF0D-197F-3747-8462-2F74C6F09622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45C85690-E0AE-FC4A-9AA0-2D9C6A27FC0D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CB4E342F-E2B9-034B-86AF-257B99924775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2AE46567-C279-0F4D-B792-014014F158A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A2D0EF23-6E2E-7E4E-8848-36636389DAF1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47EB3783-BC3E-7143-BC80-F8E1DA55D1B1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4FB244C7-89AD-134E-BA84-0BEEAC3980DB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5B2726A3-B84D-FB4F-B33A-9A4AE40FA55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3ED726EC-D482-DF40-9E2E-4DBCAADA9B73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EAEE6FAB-DDA7-D24A-9220-42716501446D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5A4CC5AC-8F2E-0741-B80E-E835747D5AC0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1D704BED-662B-6B41-BDD7-6ABA48C9AF42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75FE5EC7-8B42-FA49-B2D8-9B793A19896D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A63066D5-D089-8241-80CF-4B11B0322E4E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038DDE3A-4214-C64C-BB3F-5D626FC7BF27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FAB09580-FF0B-5144-B65B-EAEE47522A4D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4FA139C7-427A-5241-93DC-0DF3CB343A07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FDF816DF-5022-AE49-A056-7AF6A5BF4538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01E632-640B-004E-9D29-ECC906FEEC92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88E699D1-E4B4-9448-B419-CE5EA4EBEA59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CED792D6-2807-3543-91E3-C1A0EF3B8BE2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17E51BBD-F0C7-E944-BF55-B5554D620F81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FFF6AC63-694E-1F4D-9955-93C287D6046F}"/>
              </a:ext>
            </a:extLst>
          </p:cNvPr>
          <p:cNvSpPr/>
          <p:nvPr/>
        </p:nvSpPr>
        <p:spPr>
          <a:xfrm>
            <a:off x="12224430" y="190551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AC33A10-F324-204E-9C89-A50D1260A961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6E47BE37-5146-7841-B92F-8C562D90341D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28DDF8A4-32BE-FD41-AD93-E8A70FA1DBC0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E0F41D8A-A7DE-4A42-B270-E026976E1F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sp>
        <p:nvSpPr>
          <p:cNvPr id="222" name="직사각형 221">
            <a:extLst>
              <a:ext uri="{FF2B5EF4-FFF2-40B4-BE49-F238E27FC236}">
                <a16:creationId xmlns:a16="http://schemas.microsoft.com/office/drawing/2014/main" id="{F48A87E1-7D5D-4278-AABB-38D6B50A464F}"/>
              </a:ext>
            </a:extLst>
          </p:cNvPr>
          <p:cNvSpPr/>
          <p:nvPr/>
        </p:nvSpPr>
        <p:spPr>
          <a:xfrm>
            <a:off x="9754810" y="3111273"/>
            <a:ext cx="141577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성장목표</a:t>
            </a: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에 기반한 </a:t>
            </a:r>
            <a:br>
              <a:rPr lang="en-US" altLang="ko-KR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슬로건 제시</a:t>
            </a:r>
            <a:endParaRPr lang="ko-KR" altLang="en-US" sz="1200" dirty="0">
              <a:solidFill>
                <a:schemeClr val="bg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63" name="직선 연결선[R] 116">
            <a:extLst>
              <a:ext uri="{FF2B5EF4-FFF2-40B4-BE49-F238E27FC236}">
                <a16:creationId xmlns:a16="http://schemas.microsoft.com/office/drawing/2014/main" id="{4020C426-EC37-4A1A-AB1E-587457117BA6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직사각형 263">
            <a:extLst>
              <a:ext uri="{FF2B5EF4-FFF2-40B4-BE49-F238E27FC236}">
                <a16:creationId xmlns:a16="http://schemas.microsoft.com/office/drawing/2014/main" id="{E0CC7BBB-003A-4F13-B88A-D51E137D6892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F7221A5E-B4B7-4EBE-B296-8FBAF224B414}"/>
              </a:ext>
            </a:extLst>
          </p:cNvPr>
          <p:cNvSpPr/>
          <p:nvPr/>
        </p:nvSpPr>
        <p:spPr>
          <a:xfrm>
            <a:off x="11692678" y="5025663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266" name="직사각형 265">
            <a:extLst>
              <a:ext uri="{FF2B5EF4-FFF2-40B4-BE49-F238E27FC236}">
                <a16:creationId xmlns:a16="http://schemas.microsoft.com/office/drawing/2014/main" id="{EB068123-895F-4B71-A9BB-4B673CBB8EE9}"/>
              </a:ext>
            </a:extLst>
          </p:cNvPr>
          <p:cNvSpPr/>
          <p:nvPr/>
        </p:nvSpPr>
        <p:spPr>
          <a:xfrm>
            <a:off x="11692678" y="2834264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cxnSp>
        <p:nvCxnSpPr>
          <p:cNvPr id="267" name="직선 연결선[R] 111">
            <a:extLst>
              <a:ext uri="{FF2B5EF4-FFF2-40B4-BE49-F238E27FC236}">
                <a16:creationId xmlns:a16="http://schemas.microsoft.com/office/drawing/2014/main" id="{671AF624-D0A4-4B38-B316-AD246C504B73}"/>
              </a:ext>
            </a:extLst>
          </p:cNvPr>
          <p:cNvCxnSpPr>
            <a:cxnSpLocks/>
          </p:cNvCxnSpPr>
          <p:nvPr/>
        </p:nvCxnSpPr>
        <p:spPr>
          <a:xfrm>
            <a:off x="11785494" y="2825264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직선 연결선[R] 112">
            <a:extLst>
              <a:ext uri="{FF2B5EF4-FFF2-40B4-BE49-F238E27FC236}">
                <a16:creationId xmlns:a16="http://schemas.microsoft.com/office/drawing/2014/main" id="{312420E0-97F4-4454-8C2B-683D83E7FEEE}"/>
              </a:ext>
            </a:extLst>
          </p:cNvPr>
          <p:cNvCxnSpPr>
            <a:cxnSpLocks/>
          </p:cNvCxnSpPr>
          <p:nvPr/>
        </p:nvCxnSpPr>
        <p:spPr>
          <a:xfrm>
            <a:off x="11785494" y="5016664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직사각형 268">
            <a:extLst>
              <a:ext uri="{FF2B5EF4-FFF2-40B4-BE49-F238E27FC236}">
                <a16:creationId xmlns:a16="http://schemas.microsoft.com/office/drawing/2014/main" id="{B9279471-A706-4E61-9AC0-3D1BE29DC140}"/>
              </a:ext>
            </a:extLst>
          </p:cNvPr>
          <p:cNvSpPr/>
          <p:nvPr/>
        </p:nvSpPr>
        <p:spPr>
          <a:xfrm>
            <a:off x="11789546" y="3737999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70" name="직사각형 269">
            <a:extLst>
              <a:ext uri="{FF2B5EF4-FFF2-40B4-BE49-F238E27FC236}">
                <a16:creationId xmlns:a16="http://schemas.microsoft.com/office/drawing/2014/main" id="{E7C7BC9D-7A23-4879-88A9-5ED82043A8F0}"/>
              </a:ext>
            </a:extLst>
          </p:cNvPr>
          <p:cNvSpPr/>
          <p:nvPr/>
        </p:nvSpPr>
        <p:spPr>
          <a:xfrm>
            <a:off x="11692678" y="3780360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00A95667-8AE4-433F-898C-9A408F7EF901}"/>
              </a:ext>
            </a:extLst>
          </p:cNvPr>
          <p:cNvSpPr txBox="1"/>
          <p:nvPr/>
        </p:nvSpPr>
        <p:spPr>
          <a:xfrm>
            <a:off x="11829560" y="4005554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endParaRPr kumimoji="1" lang="ko-KR" altLang="en-US" sz="800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72" name="그룹 271">
            <a:extLst>
              <a:ext uri="{FF2B5EF4-FFF2-40B4-BE49-F238E27FC236}">
                <a16:creationId xmlns:a16="http://schemas.microsoft.com/office/drawing/2014/main" id="{3EF7C602-4CC4-48CA-9CAA-23CFE4DF75BC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273" name="모서리가 둥근 직사각형 94">
              <a:extLst>
                <a:ext uri="{FF2B5EF4-FFF2-40B4-BE49-F238E27FC236}">
                  <a16:creationId xmlns:a16="http://schemas.microsoft.com/office/drawing/2014/main" id="{5DC65483-1BD2-4332-8954-9B20A4C5D73E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74" name="모서리가 둥근 직사각형 97">
              <a:extLst>
                <a:ext uri="{FF2B5EF4-FFF2-40B4-BE49-F238E27FC236}">
                  <a16:creationId xmlns:a16="http://schemas.microsoft.com/office/drawing/2014/main" id="{353DDB6B-A54F-483A-A58A-B9FF9EB7235D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75" name="모서리가 둥근 직사각형 108">
              <a:extLst>
                <a:ext uri="{FF2B5EF4-FFF2-40B4-BE49-F238E27FC236}">
                  <a16:creationId xmlns:a16="http://schemas.microsoft.com/office/drawing/2014/main" id="{5E26E753-F5BB-49B1-8F63-CECCE90889C9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76" name="모서리가 둥근 직사각형 117">
              <a:extLst>
                <a:ext uri="{FF2B5EF4-FFF2-40B4-BE49-F238E27FC236}">
                  <a16:creationId xmlns:a16="http://schemas.microsoft.com/office/drawing/2014/main" id="{A6EDE213-C1AF-4876-B2BB-61A7A769C724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" name="직사각형 1">
            <a:extLst>
              <a:ext uri="{FF2B5EF4-FFF2-40B4-BE49-F238E27FC236}">
                <a16:creationId xmlns:a16="http://schemas.microsoft.com/office/drawing/2014/main" id="{2C4B4464-72FA-E203-9B29-03D20DD78348}"/>
              </a:ext>
            </a:extLst>
          </p:cNvPr>
          <p:cNvSpPr/>
          <p:nvPr/>
        </p:nvSpPr>
        <p:spPr>
          <a:xfrm>
            <a:off x="933721" y="1945200"/>
            <a:ext cx="10604836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2</a:t>
            </a:r>
            <a:r>
              <a:rPr kumimoji="1" lang="en-US" altLang="ko-KR" sz="1800" dirty="0">
                <a:solidFill>
                  <a:schemeClr val="tx1"/>
                </a:solidFill>
              </a:rPr>
              <a:t> . Frontal </a:t>
            </a:r>
            <a:r>
              <a:rPr kumimoji="1" lang="ko-KR" altLang="en-US" sz="1800" dirty="0">
                <a:solidFill>
                  <a:schemeClr val="tx1"/>
                </a:solidFill>
              </a:rPr>
              <a:t>이미지 가지고 </a:t>
            </a:r>
            <a:r>
              <a:rPr kumimoji="1" lang="en-US" altLang="ko-KR" sz="1800" dirty="0">
                <a:solidFill>
                  <a:schemeClr val="tx1"/>
                </a:solidFill>
              </a:rPr>
              <a:t>Bert</a:t>
            </a:r>
            <a:r>
              <a:rPr kumimoji="1" lang="ko-KR" altLang="en-US" sz="1800" dirty="0">
                <a:solidFill>
                  <a:schemeClr val="tx1"/>
                </a:solidFill>
              </a:rPr>
              <a:t>를 이용하여 항목에 있는 </a:t>
            </a:r>
            <a:r>
              <a:rPr kumimoji="1" lang="en-US" altLang="ko-KR" sz="1800" dirty="0">
                <a:solidFill>
                  <a:schemeClr val="tx1"/>
                </a:solidFill>
              </a:rPr>
              <a:t>masked token</a:t>
            </a:r>
            <a:r>
              <a:rPr kumimoji="1" lang="ko-KR" altLang="en-US" sz="1800" dirty="0">
                <a:solidFill>
                  <a:schemeClr val="tx1"/>
                </a:solidFill>
              </a:rPr>
              <a:t>을 가지고 </a:t>
            </a:r>
            <a:r>
              <a:rPr kumimoji="1" lang="en-US" altLang="ko-KR" sz="1800" dirty="0">
                <a:solidFill>
                  <a:schemeClr val="tx1"/>
                </a:solidFill>
              </a:rPr>
              <a:t>MLM </a:t>
            </a:r>
            <a:r>
              <a:rPr kumimoji="1" lang="ko-KR" altLang="en-US" sz="1800" dirty="0">
                <a:solidFill>
                  <a:schemeClr val="tx1"/>
                </a:solidFill>
              </a:rPr>
              <a:t>구현 및 </a:t>
            </a:r>
            <a:r>
              <a:rPr kumimoji="1" lang="en-US" altLang="ko-KR" sz="1800" dirty="0">
                <a:solidFill>
                  <a:schemeClr val="tx1"/>
                </a:solidFill>
              </a:rPr>
              <a:t>masked token </a:t>
            </a:r>
            <a:r>
              <a:rPr kumimoji="1" lang="ko-KR" altLang="en-US" sz="1800" dirty="0">
                <a:solidFill>
                  <a:schemeClr val="tx1"/>
                </a:solidFill>
              </a:rPr>
              <a:t>예측 학습 </a:t>
            </a:r>
            <a:endParaRPr kumimoji="1" lang="en-US" altLang="ko-KR" sz="1800" dirty="0">
              <a:solidFill>
                <a:schemeClr val="tx1"/>
              </a:solidFill>
            </a:endParaRPr>
          </a:p>
          <a:p>
            <a:pPr marL="0" marR="0" lvl="0" indent="0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- findings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와 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mpression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을 합쳐 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port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를 생성하고 불필요한 데이터 제거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0" marR="0" lvl="0" indent="0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- "XXXX" 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포함 문장에서 랜덤 샘플 선택 → 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[MASK]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로 변환 후 모델 입력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0" marR="0" lvl="0" indent="0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- 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모델이 </a:t>
            </a:r>
            <a:r>
              <a:rPr kumimoji="0" lang="ko-KR" altLang="en-US" sz="120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마스킹된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부분을 예측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(MLM)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하여 원래 문장 복원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0" marR="0" lvl="0" indent="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sz="15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</a:p>
          <a:p>
            <a:pPr marL="0" marR="0" lvl="0" indent="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ko-KR" sz="15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ko-KR" sz="15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ko-KR" sz="15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ko-KR" sz="15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5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6" name="그림 5" descr="텍스트, 스크린샷, 폰트, 도표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24B47757-2A51-C263-72D2-B811A03490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65302" y="3783844"/>
            <a:ext cx="5583072" cy="3061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6236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7D05F8-5CBF-EB4F-5761-287AC5B0D0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F15C4D95-484C-1642-0C89-5EE145CAD109}"/>
              </a:ext>
            </a:extLst>
          </p:cNvPr>
          <p:cNvSpPr/>
          <p:nvPr/>
        </p:nvSpPr>
        <p:spPr>
          <a:xfrm>
            <a:off x="891140" y="1817683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kumimoji="1" lang="ko-KR" altLang="en-US" dirty="0">
                <a:solidFill>
                  <a:schemeClr val="tx1"/>
                </a:solidFill>
              </a:rPr>
              <a:t>실험결과 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1.resnet50</a:t>
            </a:r>
            <a:r>
              <a:rPr kumimoji="1" lang="ko-KR" altLang="en-US" dirty="0">
                <a:solidFill>
                  <a:schemeClr val="tx1"/>
                </a:solidFill>
              </a:rPr>
              <a:t>으로 </a:t>
            </a:r>
            <a:r>
              <a:rPr kumimoji="1" lang="en-US" altLang="ko-KR" dirty="0">
                <a:solidFill>
                  <a:schemeClr val="tx1"/>
                </a:solidFill>
              </a:rPr>
              <a:t>pre-</a:t>
            </a:r>
            <a:r>
              <a:rPr kumimoji="1" lang="en-US" altLang="ko-KR" dirty="0" err="1">
                <a:solidFill>
                  <a:schemeClr val="tx1"/>
                </a:solidFill>
              </a:rPr>
              <a:t>training,fine</a:t>
            </a:r>
            <a:r>
              <a:rPr kumimoji="1" lang="en-US" altLang="ko-KR" dirty="0">
                <a:solidFill>
                  <a:schemeClr val="tx1"/>
                </a:solidFill>
              </a:rPr>
              <a:t>-tuning</a:t>
            </a:r>
            <a:r>
              <a:rPr kumimoji="1" lang="ko-KR" altLang="en-US" dirty="0">
                <a:solidFill>
                  <a:schemeClr val="tx1"/>
                </a:solidFill>
              </a:rPr>
              <a:t>을 </a:t>
            </a:r>
            <a:r>
              <a:rPr kumimoji="1" lang="ko-KR" altLang="en-US" dirty="0" err="1">
                <a:solidFill>
                  <a:schemeClr val="tx1"/>
                </a:solidFill>
              </a:rPr>
              <a:t>실행후</a:t>
            </a:r>
            <a:r>
              <a:rPr kumimoji="1" lang="ko-KR" altLang="en-US" dirty="0">
                <a:solidFill>
                  <a:schemeClr val="tx1"/>
                </a:solidFill>
              </a:rPr>
              <a:t> </a:t>
            </a:r>
            <a:r>
              <a:rPr kumimoji="1" lang="en-US" altLang="ko-KR" dirty="0">
                <a:solidFill>
                  <a:schemeClr val="tx1"/>
                </a:solidFill>
              </a:rPr>
              <a:t>pre-training</a:t>
            </a:r>
            <a:r>
              <a:rPr kumimoji="1" lang="ko-KR" altLang="en-US" dirty="0">
                <a:solidFill>
                  <a:schemeClr val="tx1"/>
                </a:solidFill>
              </a:rPr>
              <a:t>을 적용하지 않는 모델과 성능분석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-&gt;Pre-training</a:t>
            </a:r>
            <a:r>
              <a:rPr kumimoji="1" lang="ko-KR" altLang="en-US" dirty="0">
                <a:solidFill>
                  <a:schemeClr val="tx1"/>
                </a:solidFill>
              </a:rPr>
              <a:t>을 적용한 모델이 성능이 약간 높게 나왔다</a:t>
            </a:r>
            <a:r>
              <a:rPr kumimoji="1" lang="en-US" altLang="ko-KR" dirty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150000"/>
              </a:lnSpc>
            </a:pPr>
            <a:r>
              <a:rPr kumimoji="1" lang="ko-KR" altLang="en-US" dirty="0">
                <a:solidFill>
                  <a:schemeClr val="tx1"/>
                </a:solidFill>
              </a:rPr>
              <a:t> 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          pre-trained </a:t>
            </a:r>
            <a:r>
              <a:rPr kumimoji="1" lang="ko-KR" altLang="en-US" dirty="0">
                <a:solidFill>
                  <a:schemeClr val="tx1"/>
                </a:solidFill>
              </a:rPr>
              <a:t>적용 </a:t>
            </a:r>
            <a:r>
              <a:rPr kumimoji="1" lang="en-US" altLang="ko-KR" dirty="0">
                <a:solidFill>
                  <a:schemeClr val="tx1"/>
                </a:solidFill>
              </a:rPr>
              <a:t>X                                      pre-trained </a:t>
            </a:r>
            <a:r>
              <a:rPr kumimoji="1" lang="ko-KR" altLang="en-US" dirty="0">
                <a:solidFill>
                  <a:schemeClr val="tx1"/>
                </a:solidFill>
              </a:rPr>
              <a:t>적용</a:t>
            </a:r>
            <a:r>
              <a:rPr kumimoji="1" lang="en-US" altLang="ko-KR" dirty="0">
                <a:solidFill>
                  <a:schemeClr val="tx1"/>
                </a:solidFill>
              </a:rPr>
              <a:t>(weight=‘</a:t>
            </a:r>
            <a:r>
              <a:rPr kumimoji="1" lang="en-US" altLang="ko-KR" dirty="0" err="1">
                <a:solidFill>
                  <a:schemeClr val="tx1"/>
                </a:solidFill>
              </a:rPr>
              <a:t>imagenet</a:t>
            </a:r>
            <a:r>
              <a:rPr kumimoji="1" lang="en-US" altLang="ko-KR" dirty="0">
                <a:solidFill>
                  <a:schemeClr val="tx1"/>
                </a:solidFill>
              </a:rPr>
              <a:t>’)</a:t>
            </a:r>
            <a:endParaRPr kumimoji="1" lang="ko-KR" altLang="en-US" dirty="0">
              <a:solidFill>
                <a:schemeClr val="tx1"/>
              </a:solidFill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482E9AEE-77A3-286A-93BE-94ECFFB51930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77EA424F-3E5F-741E-61F6-2B6B1696008F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FA447DA9-4972-48EC-BC74-ACF4186D6FFB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5B4AA511-75E5-ED10-6225-3F7A6B40E406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1B78FE48-A206-31EE-7496-B2DA403A9F8E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A7CF4CAD-116C-2045-4009-D091A995169D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6A8801D2-4234-48B6-1ABB-593AA641328A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43F6C0A6-3737-3CB9-CA63-D1D9535ADDE3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3D968AB6-0077-5638-3AB4-989FD966CE15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12825696-8188-A60D-D68E-EA79C118A21B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307D67AC-45D6-0F25-6C35-9D1AF3D3E0F3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527549FC-1D60-40C1-EE89-9688743420D3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18EFC75C-FC2E-CD8D-2207-2D21A2BC7721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B7C0C770-B82D-1832-4046-1247F51D1DB1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1F0872C7-5682-8886-52B9-5D523C34CAE0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990109A7-371A-540A-5E72-3364181AA1AB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7B9FB36D-211A-837F-2EEC-C53D98853893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F5892384-B6CE-B86A-D9A7-5525E195CE4B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9AD24260-F8ED-07E0-3C0B-FCC7E07C2577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82D1A566-6D86-6BA0-5291-029571835B68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341FB924-78EE-6A3D-668A-86F1E519E688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BEA8EE9-3AB2-AC65-5BF2-49AE9AEE7E5B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dirty="0">
                <a:solidFill>
                  <a:schemeClr val="tx1"/>
                </a:solidFill>
              </a:rPr>
              <a:t>실험결과 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2B50AA54-30B4-E035-CAFB-6487B2971D7F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5B50535B-4BEE-92D2-B997-D7249F89A5FC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4F78381-A8D2-728F-45E3-BC2008BF2B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BE1C8D7F-C0F2-9F58-BBCD-8A17F92F0AE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EDF85B1E-48C0-F13E-AF57-1D99137925C2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5BC905E4-5252-C48B-0092-DBB859D7F82D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F52EF097-FDCD-058B-420B-B44B1B1BAA73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476AD09-2CDF-3CC4-FA54-A35C02DF5918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3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944B19C5-717D-FCFD-174B-244AC164E57C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6434DB36-A7D7-C666-4436-9F34552179DD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AA703441-335D-CBAB-5A54-0C354E8807C3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5E7EDFA8-2A73-9374-DED8-DC3F7EA332BE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66BD6B09-65D9-B170-96E6-A1AA45D7F4C4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1DD70ACF-DAB2-8BF4-35CD-92E45DFA8888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0C6FE8DA-8640-D66C-FF08-9DF4E549F54E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F46DA9AD-3E2E-036A-2FC1-08A45F3A749A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F247ACE6-7CB4-CCA8-79CC-A644AC8F1A27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2CD9795C-FB28-EFE4-E5F3-E490810A908E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6E4010A8-230D-E060-7613-7163D25C689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ECC5740D-9693-6916-D2E0-5E69C0E141FA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5545CE6B-1F86-C7F0-434F-FC6586F06470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D6697BE8-DD0A-439A-207E-547AA34E7D1A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A325031D-CA55-3260-26C5-E04927D5A9E6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1DF12ED7-BEB8-2572-C6C2-0CC28A4047A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B4BD6B17-151C-E7B2-DDA4-5616A6D24626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A7DD81D0-534A-F003-E14E-E8041DB9FC05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9DE4628F-1925-866B-950C-17AE87DFACCA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DA81FF84-33C6-DB97-F228-6F2C8D26D8CB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053BE9DB-23C2-8FC2-7610-8E136685F95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0950590B-CD59-2F32-D2F9-872A77E04442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D86BE943-AEC0-EF33-30C7-7A22CB12058B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02967DDE-962A-FC0F-F55E-E11A94CDE628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9F08644E-38CE-14AB-68AD-3879D4CCAEB5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4955182F-A0D8-FBAA-A1DC-ECFBAD7C6DA3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DB1ACAC7-2D92-E959-117A-D4FFF02BCBAF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AC27C272-F763-E444-53E7-BB70B89DD213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594E9322-EEDE-ECEA-F60C-35D4926415C6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850EBCED-7EE3-6C19-C986-EB30A9A68B28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C3811411-0729-FBDF-5620-AA8B0346B615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95CEB848-5A50-8CA2-93C3-6792F9EB70B2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2F1958F5-E797-5E59-ED04-0CA7333F5CDC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83756BB3-5DE0-3FEE-E313-4816E29379D5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cxnSp>
        <p:nvCxnSpPr>
          <p:cNvPr id="161" name="직선 연결선[R] 116">
            <a:extLst>
              <a:ext uri="{FF2B5EF4-FFF2-40B4-BE49-F238E27FC236}">
                <a16:creationId xmlns:a16="http://schemas.microsoft.com/office/drawing/2014/main" id="{65BF11DC-A8F5-27C2-7D40-CF0A3E8E4751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직선 연결선[R] 117">
            <a:extLst>
              <a:ext uri="{FF2B5EF4-FFF2-40B4-BE49-F238E27FC236}">
                <a16:creationId xmlns:a16="http://schemas.microsoft.com/office/drawing/2014/main" id="{9C60B6FD-AE8C-B129-7407-4670D18B3E5E}"/>
              </a:ext>
            </a:extLst>
          </p:cNvPr>
          <p:cNvCxnSpPr>
            <a:cxnSpLocks/>
          </p:cNvCxnSpPr>
          <p:nvPr/>
        </p:nvCxnSpPr>
        <p:spPr>
          <a:xfrm>
            <a:off x="11785494" y="519833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직사각형 163">
            <a:extLst>
              <a:ext uri="{FF2B5EF4-FFF2-40B4-BE49-F238E27FC236}">
                <a16:creationId xmlns:a16="http://schemas.microsoft.com/office/drawing/2014/main" id="{BE58B3F6-FD49-3F5B-7370-7761B38EC69E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165" name="직사각형 164">
            <a:extLst>
              <a:ext uri="{FF2B5EF4-FFF2-40B4-BE49-F238E27FC236}">
                <a16:creationId xmlns:a16="http://schemas.microsoft.com/office/drawing/2014/main" id="{8642D59D-128C-71A1-5B0F-2D4D19CF7650}"/>
              </a:ext>
            </a:extLst>
          </p:cNvPr>
          <p:cNvSpPr/>
          <p:nvPr/>
        </p:nvSpPr>
        <p:spPr>
          <a:xfrm>
            <a:off x="11692678" y="4259401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166" name="직사각형 165">
            <a:extLst>
              <a:ext uri="{FF2B5EF4-FFF2-40B4-BE49-F238E27FC236}">
                <a16:creationId xmlns:a16="http://schemas.microsoft.com/office/drawing/2014/main" id="{246A74F1-CA89-4201-251E-F3EB61DFF4CF}"/>
              </a:ext>
            </a:extLst>
          </p:cNvPr>
          <p:cNvSpPr/>
          <p:nvPr/>
        </p:nvSpPr>
        <p:spPr>
          <a:xfrm>
            <a:off x="11692678" y="5208176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cxnSp>
        <p:nvCxnSpPr>
          <p:cNvPr id="170" name="직선 연결선[R] 93">
            <a:extLst>
              <a:ext uri="{FF2B5EF4-FFF2-40B4-BE49-F238E27FC236}">
                <a16:creationId xmlns:a16="http://schemas.microsoft.com/office/drawing/2014/main" id="{C989F468-7D46-68E7-BFD2-958097F78FCC}"/>
              </a:ext>
            </a:extLst>
          </p:cNvPr>
          <p:cNvCxnSpPr>
            <a:cxnSpLocks/>
          </p:cNvCxnSpPr>
          <p:nvPr/>
        </p:nvCxnSpPr>
        <p:spPr>
          <a:xfrm>
            <a:off x="11785494" y="4195079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직사각형 170">
            <a:extLst>
              <a:ext uri="{FF2B5EF4-FFF2-40B4-BE49-F238E27FC236}">
                <a16:creationId xmlns:a16="http://schemas.microsoft.com/office/drawing/2014/main" id="{78F91282-AD97-C9C3-4A52-5B84B1D07BE0}"/>
              </a:ext>
            </a:extLst>
          </p:cNvPr>
          <p:cNvSpPr/>
          <p:nvPr/>
        </p:nvSpPr>
        <p:spPr>
          <a:xfrm>
            <a:off x="11789546" y="2916414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BA3F3ABA-9558-079C-69F3-8210746A992B}"/>
              </a:ext>
            </a:extLst>
          </p:cNvPr>
          <p:cNvSpPr txBox="1"/>
          <p:nvPr/>
        </p:nvSpPr>
        <p:spPr>
          <a:xfrm>
            <a:off x="11829560" y="3170522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2</a:t>
            </a:r>
          </a:p>
        </p:txBody>
      </p:sp>
      <p:sp>
        <p:nvSpPr>
          <p:cNvPr id="175" name="직사각형 174">
            <a:extLst>
              <a:ext uri="{FF2B5EF4-FFF2-40B4-BE49-F238E27FC236}">
                <a16:creationId xmlns:a16="http://schemas.microsoft.com/office/drawing/2014/main" id="{77BD2997-61A3-5BC7-0B5D-7A9820DCD1C3}"/>
              </a:ext>
            </a:extLst>
          </p:cNvPr>
          <p:cNvSpPr/>
          <p:nvPr/>
        </p:nvSpPr>
        <p:spPr>
          <a:xfrm>
            <a:off x="11692678" y="2958775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grpSp>
        <p:nvGrpSpPr>
          <p:cNvPr id="176" name="그룹 175">
            <a:extLst>
              <a:ext uri="{FF2B5EF4-FFF2-40B4-BE49-F238E27FC236}">
                <a16:creationId xmlns:a16="http://schemas.microsoft.com/office/drawing/2014/main" id="{FAA32EC4-D62A-A56B-2FBB-E767E60A608C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177" name="모서리가 둥근 직사각형 84">
              <a:extLst>
                <a:ext uri="{FF2B5EF4-FFF2-40B4-BE49-F238E27FC236}">
                  <a16:creationId xmlns:a16="http://schemas.microsoft.com/office/drawing/2014/main" id="{88B5EA94-0A4D-472C-D18A-313E69D56592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09" name="모서리가 둥근 직사각형 85">
              <a:extLst>
                <a:ext uri="{FF2B5EF4-FFF2-40B4-BE49-F238E27FC236}">
                  <a16:creationId xmlns:a16="http://schemas.microsoft.com/office/drawing/2014/main" id="{A95AF494-01ED-BB68-91CA-4327FF58A3A7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10" name="모서리가 둥근 직사각형 86">
              <a:extLst>
                <a:ext uri="{FF2B5EF4-FFF2-40B4-BE49-F238E27FC236}">
                  <a16:creationId xmlns:a16="http://schemas.microsoft.com/office/drawing/2014/main" id="{2997064A-B1CD-08A5-D170-A88E9ED8BEF7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11" name="모서리가 둥근 직사각형 87">
              <a:extLst>
                <a:ext uri="{FF2B5EF4-FFF2-40B4-BE49-F238E27FC236}">
                  <a16:creationId xmlns:a16="http://schemas.microsoft.com/office/drawing/2014/main" id="{2314E37D-AFF1-E280-9A15-75AFB624349C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pic>
        <p:nvPicPr>
          <p:cNvPr id="214" name="그림 213">
            <a:extLst>
              <a:ext uri="{FF2B5EF4-FFF2-40B4-BE49-F238E27FC236}">
                <a16:creationId xmlns:a16="http://schemas.microsoft.com/office/drawing/2014/main" id="{A23227F6-548E-A7BE-B439-7B27445D97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id="{41BC923A-2AB5-F929-EECA-6742E9DB7A64}"/>
              </a:ext>
            </a:extLst>
          </p:cNvPr>
          <p:cNvGrpSpPr/>
          <p:nvPr/>
        </p:nvGrpSpPr>
        <p:grpSpPr>
          <a:xfrm>
            <a:off x="9730738" y="1521984"/>
            <a:ext cx="1537816" cy="91503"/>
            <a:chOff x="9813518" y="1638458"/>
            <a:chExt cx="1416568" cy="84289"/>
          </a:xfrm>
        </p:grpSpPr>
        <p:sp>
          <p:nvSpPr>
            <p:cNvPr id="4" name="오각형[P] 102">
              <a:extLst>
                <a:ext uri="{FF2B5EF4-FFF2-40B4-BE49-F238E27FC236}">
                  <a16:creationId xmlns:a16="http://schemas.microsoft.com/office/drawing/2014/main" id="{53235A25-B43A-EABA-CF82-A73B88F01ACD}"/>
                </a:ext>
              </a:extLst>
            </p:cNvPr>
            <p:cNvSpPr/>
            <p:nvPr/>
          </p:nvSpPr>
          <p:spPr>
            <a:xfrm>
              <a:off x="10168686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5" name="오각형[P] 103">
              <a:extLst>
                <a:ext uri="{FF2B5EF4-FFF2-40B4-BE49-F238E27FC236}">
                  <a16:creationId xmlns:a16="http://schemas.microsoft.com/office/drawing/2014/main" id="{602FE2B7-2D1B-AF52-3422-08BDACF46E4F}"/>
                </a:ext>
              </a:extLst>
            </p:cNvPr>
            <p:cNvSpPr/>
            <p:nvPr/>
          </p:nvSpPr>
          <p:spPr>
            <a:xfrm>
              <a:off x="9813518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" name="오각형[P] 104">
              <a:extLst>
                <a:ext uri="{FF2B5EF4-FFF2-40B4-BE49-F238E27FC236}">
                  <a16:creationId xmlns:a16="http://schemas.microsoft.com/office/drawing/2014/main" id="{1A1A2627-E368-D341-EFA5-7B46082635EE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8" name="오각형[P] 105">
              <a:extLst>
                <a:ext uri="{FF2B5EF4-FFF2-40B4-BE49-F238E27FC236}">
                  <a16:creationId xmlns:a16="http://schemas.microsoft.com/office/drawing/2014/main" id="{BDE8402F-7E25-75D6-F5A9-937842F07896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pic>
        <p:nvPicPr>
          <p:cNvPr id="9" name="그림 8">
            <a:extLst>
              <a:ext uri="{FF2B5EF4-FFF2-40B4-BE49-F238E27FC236}">
                <a16:creationId xmlns:a16="http://schemas.microsoft.com/office/drawing/2014/main" id="{A02A6BE4-A7F9-016B-184C-8AAFC16258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37982" y="4517584"/>
            <a:ext cx="4284855" cy="1085755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F05E5C23-7036-8489-F9E3-6C09D02DAD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51785" y="4526956"/>
            <a:ext cx="5316283" cy="1076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6660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9C0BE5-100A-FBF6-BEBD-0FAE33E875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5FC713DF-2982-921D-C34A-264F28955D04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AA1D7F18-6467-B973-8DB6-4708017878F8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CF737879-8DF2-C06D-E622-B4E9055B1C30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4B09DDAD-6EA1-B334-85CE-CBBD93A1C022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008B6126-9E3E-D409-5FF2-01A9E4A1B033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C564D00C-DFC0-23A1-11BA-12E766B7B86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E8F1E739-93B6-6003-C83D-D86AC1763AF7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B19E70AE-D343-69CB-C45B-4DEF84990E48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AC92E9BA-89FC-3D42-790A-8304E33BB4D0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DF1435CC-AC09-18CA-6A1C-0EEE1A9C051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F07978F2-B390-FF52-C438-444AA523E3F3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074F1856-0283-D9AC-2CF4-DF6920EAAAB2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D0E1C3F3-E0DD-0FBC-BCED-7004D78773E1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6C7450F9-ADEA-6EA4-4BA0-D2F12DC7D3E1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F081FAC2-6D39-3B6C-00A3-7209DF69C37E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50DE6CD3-679E-4BF8-6E0F-2DA30DD9ECA7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4E5AAC8A-76B8-736D-4E98-36A3F2D70B59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31B03935-3412-A354-5B6C-2549A00E746F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D7849B5-D6E3-E150-5CBA-8219BF71B8EE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11BBDEBC-8FBC-B3C8-D5CF-6F0F0E98317D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A20C78EE-50B4-F599-9681-06502B4A28C6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BE9F758-3359-89F9-0597-8BE572E484D0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dirty="0">
                <a:solidFill>
                  <a:schemeClr val="tx1"/>
                </a:solidFill>
              </a:rPr>
              <a:t>실험 결과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10209ED-34BC-13D8-78C1-F21EBCD7F026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E676D6A7-FAA0-E34B-AC8F-9CDB51911D15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29BEC8B-D90E-ED22-BB00-4C8EC560CF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0FD765A5-8BE4-8C01-45D1-7C0C443ECC6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78E9BB7A-0F5A-CE6F-6640-8E8CE2E4A240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0A57A042-0CE0-A803-AAAC-C60EE0971506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30BEE820-CD47-D415-C4F9-9176A786E1AF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845C6A4-628B-E824-6EF0-A4B86646A7D3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3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7B2DE8B9-FFE3-EA81-5BC8-0575853F52C3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F80D44A2-DE3D-869E-2D42-ABFF0AE109DA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EAE8A6C2-74EF-62BB-BA99-F06F09858EFB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94A0B93F-5F46-75C6-F015-74D11A0EEF9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4562FFE4-F9C0-3C01-A37E-BB9647DF261A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08C4AE27-CBFC-89FF-DA6E-7FB0346A3220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7424D341-5287-53E9-54DC-7D3DBD0553F0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D25F17C2-2876-A9E7-1AA7-FA16E343DCBC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531538AB-8129-4688-DADD-2BB14D3B9927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D25B61E5-16CC-D1A4-1912-287C74AF298A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1C49423D-BECD-B10C-C9B5-D63B587AF23D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346205D0-E7D3-EBC1-ACED-E7F562B79FE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912584AC-E4FD-E008-3A5F-56F7FCA04786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240FDC0B-EAD9-75DE-B4BF-9C9CB2CBE149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9D4BACAC-7E30-AD32-3287-C379016DDEE0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37F400B6-F36D-B462-9D21-EF9F713EB50A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0DB7B152-25B7-45E9-7CD7-5BD24AF1D3DD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174B751E-7AA6-8B47-59BC-51A631CFF65A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D370E111-7EAB-FE54-EB09-41803D908AEE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AB20794D-BFD9-67B8-E795-1D3017644611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5377039D-49FA-DFAC-E59E-223332DFE3AC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9E590D36-6FA2-0332-8D35-0A95843D6259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DC479D9D-B492-FA9F-F56A-457DAC61D284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D8A8F99D-E3BF-103D-787B-7CCFFA38EDB4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821460D4-80FD-BFC6-DECF-3BB235D689A6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939A0B7D-B451-C833-8F72-96FC17DFF005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38FC55-8A28-6248-9E44-81C76918CE66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5150E2EA-32EC-81B2-2158-B801A56BA276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7231775F-12D6-FD22-8B80-3620E3F1F460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D2A68720-2FAA-EC5D-DD80-5C05418F7686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C56E02F3-4EBE-181A-0814-A11A62DEA05E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CE9C0DF-1C0E-6687-B42E-9C206A4864CA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8F4CC526-D212-1241-4947-0225685E9E32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4AB73757-62F5-6A02-B364-E2FA65A6A661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AAF22097-3A91-AF59-A242-ADC462F837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sp>
        <p:nvSpPr>
          <p:cNvPr id="222" name="직사각형 221">
            <a:extLst>
              <a:ext uri="{FF2B5EF4-FFF2-40B4-BE49-F238E27FC236}">
                <a16:creationId xmlns:a16="http://schemas.microsoft.com/office/drawing/2014/main" id="{FA80ED79-B91D-DDA6-7C44-5E3FFC175BAE}"/>
              </a:ext>
            </a:extLst>
          </p:cNvPr>
          <p:cNvSpPr/>
          <p:nvPr/>
        </p:nvSpPr>
        <p:spPr>
          <a:xfrm>
            <a:off x="9754810" y="3111273"/>
            <a:ext cx="141577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성장목표</a:t>
            </a: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에 기반한 </a:t>
            </a:r>
            <a:br>
              <a:rPr lang="en-US" altLang="ko-KR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슬로건 제시</a:t>
            </a:r>
            <a:endParaRPr lang="ko-KR" altLang="en-US" sz="1200" dirty="0">
              <a:solidFill>
                <a:schemeClr val="bg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63" name="직선 연결선[R] 116">
            <a:extLst>
              <a:ext uri="{FF2B5EF4-FFF2-40B4-BE49-F238E27FC236}">
                <a16:creationId xmlns:a16="http://schemas.microsoft.com/office/drawing/2014/main" id="{AB1356FE-A980-37EC-F990-5DB46A448813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직사각형 263">
            <a:extLst>
              <a:ext uri="{FF2B5EF4-FFF2-40B4-BE49-F238E27FC236}">
                <a16:creationId xmlns:a16="http://schemas.microsoft.com/office/drawing/2014/main" id="{38DD1B77-3717-F2F0-02D2-9C6D2FD935B3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452F994E-5FAE-FDDE-0E29-25CBF87FBA7F}"/>
              </a:ext>
            </a:extLst>
          </p:cNvPr>
          <p:cNvSpPr/>
          <p:nvPr/>
        </p:nvSpPr>
        <p:spPr>
          <a:xfrm>
            <a:off x="11692678" y="5025663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266" name="직사각형 265">
            <a:extLst>
              <a:ext uri="{FF2B5EF4-FFF2-40B4-BE49-F238E27FC236}">
                <a16:creationId xmlns:a16="http://schemas.microsoft.com/office/drawing/2014/main" id="{D325E0C7-4CC8-8672-E247-BBDDE484E9A3}"/>
              </a:ext>
            </a:extLst>
          </p:cNvPr>
          <p:cNvSpPr/>
          <p:nvPr/>
        </p:nvSpPr>
        <p:spPr>
          <a:xfrm>
            <a:off x="11692678" y="2834264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cxnSp>
        <p:nvCxnSpPr>
          <p:cNvPr id="267" name="직선 연결선[R] 111">
            <a:extLst>
              <a:ext uri="{FF2B5EF4-FFF2-40B4-BE49-F238E27FC236}">
                <a16:creationId xmlns:a16="http://schemas.microsoft.com/office/drawing/2014/main" id="{0D02B485-5A82-48F3-8B22-5831C9A55408}"/>
              </a:ext>
            </a:extLst>
          </p:cNvPr>
          <p:cNvCxnSpPr>
            <a:cxnSpLocks/>
          </p:cNvCxnSpPr>
          <p:nvPr/>
        </p:nvCxnSpPr>
        <p:spPr>
          <a:xfrm>
            <a:off x="11785494" y="2825264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직선 연결선[R] 112">
            <a:extLst>
              <a:ext uri="{FF2B5EF4-FFF2-40B4-BE49-F238E27FC236}">
                <a16:creationId xmlns:a16="http://schemas.microsoft.com/office/drawing/2014/main" id="{23559B2C-5176-D64B-BBA3-E5965377E916}"/>
              </a:ext>
            </a:extLst>
          </p:cNvPr>
          <p:cNvCxnSpPr>
            <a:cxnSpLocks/>
          </p:cNvCxnSpPr>
          <p:nvPr/>
        </p:nvCxnSpPr>
        <p:spPr>
          <a:xfrm>
            <a:off x="11785494" y="5016664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직사각형 268">
            <a:extLst>
              <a:ext uri="{FF2B5EF4-FFF2-40B4-BE49-F238E27FC236}">
                <a16:creationId xmlns:a16="http://schemas.microsoft.com/office/drawing/2014/main" id="{F4995BA4-D19E-0B3F-DE84-C3F8A58469A9}"/>
              </a:ext>
            </a:extLst>
          </p:cNvPr>
          <p:cNvSpPr/>
          <p:nvPr/>
        </p:nvSpPr>
        <p:spPr>
          <a:xfrm>
            <a:off x="11789546" y="3737999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70" name="직사각형 269">
            <a:extLst>
              <a:ext uri="{FF2B5EF4-FFF2-40B4-BE49-F238E27FC236}">
                <a16:creationId xmlns:a16="http://schemas.microsoft.com/office/drawing/2014/main" id="{7A0F369C-7018-DFDB-4C05-15C3155B4CEF}"/>
              </a:ext>
            </a:extLst>
          </p:cNvPr>
          <p:cNvSpPr/>
          <p:nvPr/>
        </p:nvSpPr>
        <p:spPr>
          <a:xfrm>
            <a:off x="11692678" y="3780360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30DD04F2-0989-87CC-D97F-1BEF8260A689}"/>
              </a:ext>
            </a:extLst>
          </p:cNvPr>
          <p:cNvSpPr txBox="1"/>
          <p:nvPr/>
        </p:nvSpPr>
        <p:spPr>
          <a:xfrm>
            <a:off x="11829560" y="4005554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endParaRPr kumimoji="1" lang="ko-KR" altLang="en-US" sz="800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72" name="그룹 271">
            <a:extLst>
              <a:ext uri="{FF2B5EF4-FFF2-40B4-BE49-F238E27FC236}">
                <a16:creationId xmlns:a16="http://schemas.microsoft.com/office/drawing/2014/main" id="{FEA388A5-7CE3-4594-37B8-22C4EC87018E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273" name="모서리가 둥근 직사각형 94">
              <a:extLst>
                <a:ext uri="{FF2B5EF4-FFF2-40B4-BE49-F238E27FC236}">
                  <a16:creationId xmlns:a16="http://schemas.microsoft.com/office/drawing/2014/main" id="{77DC3179-1B9C-8308-C136-F1CDBFD18D54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74" name="모서리가 둥근 직사각형 97">
              <a:extLst>
                <a:ext uri="{FF2B5EF4-FFF2-40B4-BE49-F238E27FC236}">
                  <a16:creationId xmlns:a16="http://schemas.microsoft.com/office/drawing/2014/main" id="{2F6D4EBD-8C22-11C3-A35F-4F0D4F342DC2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75" name="모서리가 둥근 직사각형 108">
              <a:extLst>
                <a:ext uri="{FF2B5EF4-FFF2-40B4-BE49-F238E27FC236}">
                  <a16:creationId xmlns:a16="http://schemas.microsoft.com/office/drawing/2014/main" id="{7023BB9A-A818-90BE-64AB-AD71C6E47ED2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76" name="모서리가 둥근 직사각형 117">
              <a:extLst>
                <a:ext uri="{FF2B5EF4-FFF2-40B4-BE49-F238E27FC236}">
                  <a16:creationId xmlns:a16="http://schemas.microsoft.com/office/drawing/2014/main" id="{DCC2339E-001F-87C7-CBFF-8605645BF1FF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" name="직사각형 1">
            <a:extLst>
              <a:ext uri="{FF2B5EF4-FFF2-40B4-BE49-F238E27FC236}">
                <a16:creationId xmlns:a16="http://schemas.microsoft.com/office/drawing/2014/main" id="{9235C7F5-5684-2989-BA88-C7CEF6838E74}"/>
              </a:ext>
            </a:extLst>
          </p:cNvPr>
          <p:cNvSpPr/>
          <p:nvPr/>
        </p:nvSpPr>
        <p:spPr>
          <a:xfrm>
            <a:off x="884159" y="1815111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ko-KR" dirty="0">
                <a:solidFill>
                  <a:schemeClr val="tx1"/>
                </a:solidFill>
              </a:rPr>
              <a:t>2. Bert</a:t>
            </a:r>
            <a:r>
              <a:rPr kumimoji="1" lang="ko-KR" altLang="en-US" dirty="0">
                <a:solidFill>
                  <a:schemeClr val="tx1"/>
                </a:solidFill>
              </a:rPr>
              <a:t>를 이용하여 항목에 있는 </a:t>
            </a:r>
            <a:r>
              <a:rPr kumimoji="1" lang="en-US" altLang="ko-KR" dirty="0">
                <a:solidFill>
                  <a:schemeClr val="tx1"/>
                </a:solidFill>
              </a:rPr>
              <a:t>masked token</a:t>
            </a:r>
            <a:r>
              <a:rPr kumimoji="1" lang="ko-KR" altLang="en-US" dirty="0">
                <a:solidFill>
                  <a:schemeClr val="tx1"/>
                </a:solidFill>
              </a:rPr>
              <a:t>을 가지고 </a:t>
            </a:r>
            <a:r>
              <a:rPr kumimoji="1" lang="en-US" altLang="ko-KR" dirty="0">
                <a:solidFill>
                  <a:schemeClr val="tx1"/>
                </a:solidFill>
              </a:rPr>
              <a:t>MLM</a:t>
            </a:r>
            <a:r>
              <a:rPr kumimoji="1" lang="ko-KR" altLang="en-US" dirty="0">
                <a:solidFill>
                  <a:schemeClr val="tx1"/>
                </a:solidFill>
              </a:rPr>
              <a:t>구현 및 </a:t>
            </a:r>
            <a:r>
              <a:rPr kumimoji="1" lang="en-US" altLang="ko-KR" dirty="0">
                <a:solidFill>
                  <a:schemeClr val="tx1"/>
                </a:solidFill>
              </a:rPr>
              <a:t>masked token </a:t>
            </a:r>
            <a:r>
              <a:rPr kumimoji="1" lang="ko-KR" altLang="en-US" dirty="0">
                <a:solidFill>
                  <a:schemeClr val="tx1"/>
                </a:solidFill>
              </a:rPr>
              <a:t>예측 학습</a:t>
            </a:r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ko-KR" altLang="en-US" dirty="0">
              <a:solidFill>
                <a:schemeClr val="tx1"/>
              </a:solidFill>
            </a:endParaRPr>
          </a:p>
          <a:p>
            <a:endParaRPr lang="en-US" altLang="ko-KR" sz="1800" b="1" i="0" dirty="0">
              <a:solidFill>
                <a:schemeClr val="tx1"/>
              </a:solidFill>
              <a:effectLst/>
              <a:latin typeface="system-ui"/>
            </a:endParaRPr>
          </a:p>
          <a:p>
            <a:pPr>
              <a:lnSpc>
                <a:spcPct val="150000"/>
              </a:lnSpc>
            </a:pPr>
            <a:endParaRPr kumimoji="1" lang="ko-KR" altLang="en-US" dirty="0">
              <a:solidFill>
                <a:schemeClr val="tx1"/>
              </a:solidFill>
            </a:endParaRP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5A10741A-F234-CF05-7B43-6015AFF02AC1}"/>
              </a:ext>
            </a:extLst>
          </p:cNvPr>
          <p:cNvGrpSpPr/>
          <p:nvPr/>
        </p:nvGrpSpPr>
        <p:grpSpPr>
          <a:xfrm>
            <a:off x="9730738" y="1521984"/>
            <a:ext cx="1537816" cy="91503"/>
            <a:chOff x="9813518" y="1638458"/>
            <a:chExt cx="1416568" cy="84289"/>
          </a:xfrm>
        </p:grpSpPr>
        <p:sp>
          <p:nvSpPr>
            <p:cNvPr id="13" name="오각형[P] 102">
              <a:extLst>
                <a:ext uri="{FF2B5EF4-FFF2-40B4-BE49-F238E27FC236}">
                  <a16:creationId xmlns:a16="http://schemas.microsoft.com/office/drawing/2014/main" id="{80F6E754-5527-2F3D-AB02-BB8D54DB7673}"/>
                </a:ext>
              </a:extLst>
            </p:cNvPr>
            <p:cNvSpPr/>
            <p:nvPr/>
          </p:nvSpPr>
          <p:spPr>
            <a:xfrm>
              <a:off x="10168686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" name="오각형[P] 103">
              <a:extLst>
                <a:ext uri="{FF2B5EF4-FFF2-40B4-BE49-F238E27FC236}">
                  <a16:creationId xmlns:a16="http://schemas.microsoft.com/office/drawing/2014/main" id="{78F597A3-14F4-33CB-C2D2-BABB38111873}"/>
                </a:ext>
              </a:extLst>
            </p:cNvPr>
            <p:cNvSpPr/>
            <p:nvPr/>
          </p:nvSpPr>
          <p:spPr>
            <a:xfrm>
              <a:off x="9813518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6" name="오각형[P] 104">
              <a:extLst>
                <a:ext uri="{FF2B5EF4-FFF2-40B4-BE49-F238E27FC236}">
                  <a16:creationId xmlns:a16="http://schemas.microsoft.com/office/drawing/2014/main" id="{14B58DB9-5044-B4C3-BD73-4D509570E099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7" name="오각형[P] 105">
              <a:extLst>
                <a:ext uri="{FF2B5EF4-FFF2-40B4-BE49-F238E27FC236}">
                  <a16:creationId xmlns:a16="http://schemas.microsoft.com/office/drawing/2014/main" id="{B3EEBD11-C35E-B191-D417-6E5F573CAED9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pic>
        <p:nvPicPr>
          <p:cNvPr id="5" name="그림 4" descr="텍스트, 폰트, 스크린샷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CF89E4D3-B344-E84B-2327-C4E38D467E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8474" y="3643931"/>
            <a:ext cx="10229135" cy="2319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0557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그림 22">
            <a:extLst>
              <a:ext uri="{FF2B5EF4-FFF2-40B4-BE49-F238E27FC236}">
                <a16:creationId xmlns:a16="http://schemas.microsoft.com/office/drawing/2014/main" id="{8914FB35-D197-44DA-8E5E-E5BDF5D4F645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8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0" y="1"/>
            <a:ext cx="12192000" cy="4011078"/>
          </a:xfrm>
          <a:custGeom>
            <a:avLst/>
            <a:gdLst>
              <a:gd name="connsiteX0" fmla="*/ 0 w 12192000"/>
              <a:gd name="connsiteY0" fmla="*/ 0 h 4011078"/>
              <a:gd name="connsiteX1" fmla="*/ 12192000 w 12192000"/>
              <a:gd name="connsiteY1" fmla="*/ 0 h 4011078"/>
              <a:gd name="connsiteX2" fmla="*/ 12192000 w 12192000"/>
              <a:gd name="connsiteY2" fmla="*/ 3428999 h 4011078"/>
              <a:gd name="connsiteX3" fmla="*/ 10857053 w 12192000"/>
              <a:gd name="connsiteY3" fmla="*/ 3428999 h 4011078"/>
              <a:gd name="connsiteX4" fmla="*/ 10857053 w 12192000"/>
              <a:gd name="connsiteY4" fmla="*/ 4011078 h 4011078"/>
              <a:gd name="connsiteX5" fmla="*/ 6373268 w 12192000"/>
              <a:gd name="connsiteY5" fmla="*/ 4011078 h 4011078"/>
              <a:gd name="connsiteX6" fmla="*/ 3268745 w 12192000"/>
              <a:gd name="connsiteY6" fmla="*/ 2531436 h 4011078"/>
              <a:gd name="connsiteX7" fmla="*/ 164221 w 12192000"/>
              <a:gd name="connsiteY7" fmla="*/ 4011078 h 4011078"/>
              <a:gd name="connsiteX8" fmla="*/ 0 w 12192000"/>
              <a:gd name="connsiteY8" fmla="*/ 4011078 h 4011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4011078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10857053" y="3428999"/>
                </a:lnTo>
                <a:lnTo>
                  <a:pt x="10857053" y="4011078"/>
                </a:lnTo>
                <a:lnTo>
                  <a:pt x="6373268" y="4011078"/>
                </a:lnTo>
                <a:lnTo>
                  <a:pt x="3268745" y="2531436"/>
                </a:lnTo>
                <a:lnTo>
                  <a:pt x="164221" y="4011078"/>
                </a:lnTo>
                <a:lnTo>
                  <a:pt x="0" y="4011078"/>
                </a:lnTo>
                <a:close/>
              </a:path>
            </a:pathLst>
          </a:custGeom>
        </p:spPr>
      </p:pic>
      <p:sp>
        <p:nvSpPr>
          <p:cNvPr id="13" name="평행 사변형 12">
            <a:extLst>
              <a:ext uri="{FF2B5EF4-FFF2-40B4-BE49-F238E27FC236}">
                <a16:creationId xmlns:a16="http://schemas.microsoft.com/office/drawing/2014/main" id="{CA1EBD39-6C4C-4828-8916-96442473B53E}"/>
              </a:ext>
            </a:extLst>
          </p:cNvPr>
          <p:cNvSpPr/>
          <p:nvPr/>
        </p:nvSpPr>
        <p:spPr>
          <a:xfrm rot="7616888" flipV="1">
            <a:off x="4352666" y="921529"/>
            <a:ext cx="2076970" cy="4306279"/>
          </a:xfrm>
          <a:custGeom>
            <a:avLst/>
            <a:gdLst>
              <a:gd name="connsiteX0" fmla="*/ 0 w 1676400"/>
              <a:gd name="connsiteY0" fmla="*/ 3368040 h 3368040"/>
              <a:gd name="connsiteX1" fmla="*/ 702462 w 1676400"/>
              <a:gd name="connsiteY1" fmla="*/ 0 h 3368040"/>
              <a:gd name="connsiteX2" fmla="*/ 1676400 w 1676400"/>
              <a:gd name="connsiteY2" fmla="*/ 0 h 3368040"/>
              <a:gd name="connsiteX3" fmla="*/ 973938 w 1676400"/>
              <a:gd name="connsiteY3" fmla="*/ 3368040 h 3368040"/>
              <a:gd name="connsiteX4" fmla="*/ 0 w 1676400"/>
              <a:gd name="connsiteY4" fmla="*/ 3368040 h 3368040"/>
              <a:gd name="connsiteX0" fmla="*/ 0 w 1728865"/>
              <a:gd name="connsiteY0" fmla="*/ 3843457 h 3843457"/>
              <a:gd name="connsiteX1" fmla="*/ 702462 w 1728865"/>
              <a:gd name="connsiteY1" fmla="*/ 475417 h 3843457"/>
              <a:gd name="connsiteX2" fmla="*/ 1728865 w 1728865"/>
              <a:gd name="connsiteY2" fmla="*/ 0 h 3843457"/>
              <a:gd name="connsiteX3" fmla="*/ 973938 w 1728865"/>
              <a:gd name="connsiteY3" fmla="*/ 3843457 h 3843457"/>
              <a:gd name="connsiteX4" fmla="*/ 0 w 1728865"/>
              <a:gd name="connsiteY4" fmla="*/ 3843457 h 3843457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191191 w 1946118"/>
              <a:gd name="connsiteY3" fmla="*/ 3843457 h 4461905"/>
              <a:gd name="connsiteX4" fmla="*/ 0 w 1946118"/>
              <a:gd name="connsiteY4" fmla="*/ 4461905 h 4461905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045037 w 1946118"/>
              <a:gd name="connsiteY3" fmla="*/ 3733529 h 4461905"/>
              <a:gd name="connsiteX4" fmla="*/ 0 w 1946118"/>
              <a:gd name="connsiteY4" fmla="*/ 4461905 h 4461905"/>
              <a:gd name="connsiteX0" fmla="*/ 0 w 1671715"/>
              <a:gd name="connsiteY0" fmla="*/ 4401320 h 4401320"/>
              <a:gd name="connsiteX1" fmla="*/ 919715 w 1671715"/>
              <a:gd name="connsiteY1" fmla="*/ 414832 h 4401320"/>
              <a:gd name="connsiteX2" fmla="*/ 1671715 w 1671715"/>
              <a:gd name="connsiteY2" fmla="*/ 0 h 4401320"/>
              <a:gd name="connsiteX3" fmla="*/ 1045037 w 1671715"/>
              <a:gd name="connsiteY3" fmla="*/ 3672944 h 4401320"/>
              <a:gd name="connsiteX4" fmla="*/ 0 w 1671715"/>
              <a:gd name="connsiteY4" fmla="*/ 4401320 h 4401320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450292 w 2076970"/>
              <a:gd name="connsiteY3" fmla="*/ 3672944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980810 w 2076970"/>
              <a:gd name="connsiteY3" fmla="*/ 3739359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166937 w 2076970"/>
              <a:gd name="connsiteY3" fmla="*/ 3593309 h 4306279"/>
              <a:gd name="connsiteX4" fmla="*/ 0 w 2076970"/>
              <a:gd name="connsiteY4" fmla="*/ 4306279 h 4306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6970" h="4306279">
                <a:moveTo>
                  <a:pt x="0" y="4306279"/>
                </a:moveTo>
                <a:lnTo>
                  <a:pt x="1324970" y="414832"/>
                </a:lnTo>
                <a:lnTo>
                  <a:pt x="2076970" y="0"/>
                </a:lnTo>
                <a:lnTo>
                  <a:pt x="1166937" y="3593309"/>
                </a:lnTo>
                <a:lnTo>
                  <a:pt x="0" y="4306279"/>
                </a:lnTo>
                <a:close/>
              </a:path>
            </a:pathLst>
          </a:custGeom>
          <a:solidFill>
            <a:srgbClr val="1D2D61"/>
          </a:solidFill>
          <a:ln>
            <a:solidFill>
              <a:srgbClr val="1D2D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각 삼각형 10">
            <a:extLst>
              <a:ext uri="{FF2B5EF4-FFF2-40B4-BE49-F238E27FC236}">
                <a16:creationId xmlns:a16="http://schemas.microsoft.com/office/drawing/2014/main" id="{C26AA14B-2FE4-4F17-9BAC-C48BC50F4AC3}"/>
              </a:ext>
            </a:extLst>
          </p:cNvPr>
          <p:cNvSpPr/>
          <p:nvPr/>
        </p:nvSpPr>
        <p:spPr>
          <a:xfrm rot="5400000">
            <a:off x="883920" y="1363980"/>
            <a:ext cx="2057400" cy="3825240"/>
          </a:xfrm>
          <a:custGeom>
            <a:avLst/>
            <a:gdLst>
              <a:gd name="connsiteX0" fmla="*/ 0 w 1097280"/>
              <a:gd name="connsiteY0" fmla="*/ 3688080 h 3688080"/>
              <a:gd name="connsiteX1" fmla="*/ 0 w 1097280"/>
              <a:gd name="connsiteY1" fmla="*/ 0 h 3688080"/>
              <a:gd name="connsiteX2" fmla="*/ 1097280 w 1097280"/>
              <a:gd name="connsiteY2" fmla="*/ 3688080 h 3688080"/>
              <a:gd name="connsiteX3" fmla="*/ 0 w 1097280"/>
              <a:gd name="connsiteY3" fmla="*/ 3688080 h 3688080"/>
              <a:gd name="connsiteX0" fmla="*/ 960120 w 2057400"/>
              <a:gd name="connsiteY0" fmla="*/ 3825240 h 3825240"/>
              <a:gd name="connsiteX1" fmla="*/ 0 w 2057400"/>
              <a:gd name="connsiteY1" fmla="*/ 0 h 3825240"/>
              <a:gd name="connsiteX2" fmla="*/ 2057400 w 2057400"/>
              <a:gd name="connsiteY2" fmla="*/ 3825240 h 3825240"/>
              <a:gd name="connsiteX3" fmla="*/ 960120 w 2057400"/>
              <a:gd name="connsiteY3" fmla="*/ 3825240 h 3825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57400" h="3825240">
                <a:moveTo>
                  <a:pt x="960120" y="3825240"/>
                </a:moveTo>
                <a:lnTo>
                  <a:pt x="0" y="0"/>
                </a:lnTo>
                <a:lnTo>
                  <a:pt x="2057400" y="3825240"/>
                </a:lnTo>
                <a:lnTo>
                  <a:pt x="960120" y="3825240"/>
                </a:lnTo>
                <a:close/>
              </a:path>
            </a:pathLst>
          </a:custGeom>
          <a:solidFill>
            <a:srgbClr val="304B8F"/>
          </a:solidFill>
          <a:ln>
            <a:solidFill>
              <a:srgbClr val="304B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자유형: 도형 33">
            <a:extLst>
              <a:ext uri="{FF2B5EF4-FFF2-40B4-BE49-F238E27FC236}">
                <a16:creationId xmlns:a16="http://schemas.microsoft.com/office/drawing/2014/main" id="{E51DD70F-DE42-422C-A7E1-581FAE35F361}"/>
              </a:ext>
            </a:extLst>
          </p:cNvPr>
          <p:cNvSpPr/>
          <p:nvPr/>
        </p:nvSpPr>
        <p:spPr>
          <a:xfrm rot="3218114">
            <a:off x="8141046" y="588138"/>
            <a:ext cx="3201175" cy="5926063"/>
          </a:xfrm>
          <a:custGeom>
            <a:avLst/>
            <a:gdLst>
              <a:gd name="connsiteX0" fmla="*/ 1709134 w 3201175"/>
              <a:gd name="connsiteY0" fmla="*/ 0 h 5926063"/>
              <a:gd name="connsiteX1" fmla="*/ 3201175 w 3201175"/>
              <a:gd name="connsiteY1" fmla="*/ 1098611 h 5926063"/>
              <a:gd name="connsiteX2" fmla="*/ 1596321 w 3201175"/>
              <a:gd name="connsiteY2" fmla="*/ 4979027 h 5926063"/>
              <a:gd name="connsiteX3" fmla="*/ 0 w 3201175"/>
              <a:gd name="connsiteY3" fmla="*/ 5926063 h 5926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1175" h="5926063">
                <a:moveTo>
                  <a:pt x="1709134" y="0"/>
                </a:moveTo>
                <a:lnTo>
                  <a:pt x="3201175" y="1098611"/>
                </a:lnTo>
                <a:lnTo>
                  <a:pt x="1596321" y="4979027"/>
                </a:lnTo>
                <a:lnTo>
                  <a:pt x="0" y="5926063"/>
                </a:lnTo>
                <a:close/>
              </a:path>
            </a:pathLst>
          </a:custGeom>
          <a:solidFill>
            <a:srgbClr val="365597"/>
          </a:solidFill>
          <a:ln>
            <a:solidFill>
              <a:srgbClr val="36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ko-KR" altLang="en-US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5E7A525-CB26-4BB9-B788-94D77C611E1B}"/>
              </a:ext>
            </a:extLst>
          </p:cNvPr>
          <p:cNvSpPr/>
          <p:nvPr/>
        </p:nvSpPr>
        <p:spPr>
          <a:xfrm>
            <a:off x="0" y="0"/>
            <a:ext cx="464820" cy="392992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B455D1F6-AC98-42A7-A49F-B9B8979EFB9C}"/>
              </a:ext>
            </a:extLst>
          </p:cNvPr>
          <p:cNvSpPr/>
          <p:nvPr/>
        </p:nvSpPr>
        <p:spPr>
          <a:xfrm rot="5400000">
            <a:off x="5905500" y="-5440680"/>
            <a:ext cx="381000" cy="1126236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FAA32E76-D9AF-457D-A849-4CE6AA3C8A41}"/>
              </a:ext>
            </a:extLst>
          </p:cNvPr>
          <p:cNvSpPr/>
          <p:nvPr/>
        </p:nvSpPr>
        <p:spPr>
          <a:xfrm>
            <a:off x="11727180" y="0"/>
            <a:ext cx="464820" cy="3727048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54EBCAD0-28BF-4F41-9FF9-24637DB83F93}"/>
              </a:ext>
            </a:extLst>
          </p:cNvPr>
          <p:cNvSpPr/>
          <p:nvPr/>
        </p:nvSpPr>
        <p:spPr>
          <a:xfrm>
            <a:off x="11727180" y="3727048"/>
            <a:ext cx="464820" cy="124430"/>
          </a:xfrm>
          <a:custGeom>
            <a:avLst/>
            <a:gdLst>
              <a:gd name="connsiteX0" fmla="*/ 0 w 464820"/>
              <a:gd name="connsiteY0" fmla="*/ 0 h 124430"/>
              <a:gd name="connsiteX1" fmla="*/ 464820 w 464820"/>
              <a:gd name="connsiteY1" fmla="*/ 0 h 124430"/>
              <a:gd name="connsiteX2" fmla="*/ 464820 w 464820"/>
              <a:gd name="connsiteY2" fmla="*/ 124430 h 124430"/>
              <a:gd name="connsiteX3" fmla="*/ 0 w 464820"/>
              <a:gd name="connsiteY3" fmla="*/ 124430 h 124430"/>
              <a:gd name="connsiteX4" fmla="*/ 0 w 464820"/>
              <a:gd name="connsiteY4" fmla="*/ 0 h 124430"/>
              <a:gd name="connsiteX0" fmla="*/ 0 w 464820"/>
              <a:gd name="connsiteY0" fmla="*/ 0 h 124430"/>
              <a:gd name="connsiteX1" fmla="*/ 464820 w 464820"/>
              <a:gd name="connsiteY1" fmla="*/ 0 h 124430"/>
              <a:gd name="connsiteX2" fmla="*/ 457200 w 464820"/>
              <a:gd name="connsiteY2" fmla="*/ 17750 h 124430"/>
              <a:gd name="connsiteX3" fmla="*/ 0 w 464820"/>
              <a:gd name="connsiteY3" fmla="*/ 124430 h 124430"/>
              <a:gd name="connsiteX4" fmla="*/ 0 w 464820"/>
              <a:gd name="connsiteY4" fmla="*/ 0 h 124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124430">
                <a:moveTo>
                  <a:pt x="0" y="0"/>
                </a:moveTo>
                <a:lnTo>
                  <a:pt x="464820" y="0"/>
                </a:lnTo>
                <a:lnTo>
                  <a:pt x="457200" y="17750"/>
                </a:lnTo>
                <a:lnTo>
                  <a:pt x="0" y="12443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F6408E02-E0E7-4925-BF36-8FE41C7F05B0}"/>
              </a:ext>
            </a:extLst>
          </p:cNvPr>
          <p:cNvSpPr/>
          <p:nvPr/>
        </p:nvSpPr>
        <p:spPr>
          <a:xfrm>
            <a:off x="0" y="3929920"/>
            <a:ext cx="464820" cy="399681"/>
          </a:xfrm>
          <a:custGeom>
            <a:avLst/>
            <a:gdLst>
              <a:gd name="connsiteX0" fmla="*/ 0 w 464820"/>
              <a:gd name="connsiteY0" fmla="*/ 0 h 399681"/>
              <a:gd name="connsiteX1" fmla="*/ 464820 w 464820"/>
              <a:gd name="connsiteY1" fmla="*/ 0 h 399681"/>
              <a:gd name="connsiteX2" fmla="*/ 464820 w 464820"/>
              <a:gd name="connsiteY2" fmla="*/ 399681 h 399681"/>
              <a:gd name="connsiteX3" fmla="*/ 0 w 464820"/>
              <a:gd name="connsiteY3" fmla="*/ 399681 h 399681"/>
              <a:gd name="connsiteX4" fmla="*/ 0 w 464820"/>
              <a:gd name="connsiteY4" fmla="*/ 0 h 399681"/>
              <a:gd name="connsiteX0" fmla="*/ 0 w 464820"/>
              <a:gd name="connsiteY0" fmla="*/ 0 h 399681"/>
              <a:gd name="connsiteX1" fmla="*/ 464820 w 464820"/>
              <a:gd name="connsiteY1" fmla="*/ 0 h 399681"/>
              <a:gd name="connsiteX2" fmla="*/ 455295 w 464820"/>
              <a:gd name="connsiteY2" fmla="*/ 140601 h 399681"/>
              <a:gd name="connsiteX3" fmla="*/ 0 w 464820"/>
              <a:gd name="connsiteY3" fmla="*/ 399681 h 399681"/>
              <a:gd name="connsiteX4" fmla="*/ 0 w 464820"/>
              <a:gd name="connsiteY4" fmla="*/ 0 h 399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399681">
                <a:moveTo>
                  <a:pt x="0" y="0"/>
                </a:moveTo>
                <a:lnTo>
                  <a:pt x="464820" y="0"/>
                </a:lnTo>
                <a:lnTo>
                  <a:pt x="455295" y="140601"/>
                </a:lnTo>
                <a:lnTo>
                  <a:pt x="0" y="39968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7323146-E9B1-4F9C-9F15-E4C7CF604F47}"/>
              </a:ext>
            </a:extLst>
          </p:cNvPr>
          <p:cNvSpPr txBox="1"/>
          <p:nvPr/>
        </p:nvSpPr>
        <p:spPr>
          <a:xfrm>
            <a:off x="1673671" y="3845691"/>
            <a:ext cx="36717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000" dirty="0">
                <a:solidFill>
                  <a:srgbClr val="046DA7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가천대학교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04B4949-8EC5-4D6B-AAFD-3D2BB466BE40}"/>
              </a:ext>
            </a:extLst>
          </p:cNvPr>
          <p:cNvSpPr txBox="1"/>
          <p:nvPr/>
        </p:nvSpPr>
        <p:spPr>
          <a:xfrm>
            <a:off x="1673671" y="4519078"/>
            <a:ext cx="50814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800" dirty="0">
                <a:solidFill>
                  <a:srgbClr val="1D2D6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감사합니다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6A88A032-AB2E-4B44-861E-4A82DC9B871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87951" y="5752602"/>
            <a:ext cx="2015489" cy="718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3746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236</TotalTime>
  <Words>372</Words>
  <Application>Microsoft Office PowerPoint</Application>
  <PresentationFormat>와이드스크린</PresentationFormat>
  <Paragraphs>116</Paragraphs>
  <Slides>7</Slides>
  <Notes>7</Notes>
  <HiddenSlides>0</HiddenSlides>
  <MMClips>0</MMClips>
  <ScaleCrop>false</ScaleCrop>
  <HeadingPairs>
    <vt:vector size="8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7</vt:i4>
      </vt:variant>
    </vt:vector>
  </HeadingPairs>
  <TitlesOfParts>
    <vt:vector size="16" baseType="lpstr">
      <vt:lpstr>NANUMGOTHIC EXTRABOLD</vt:lpstr>
      <vt:lpstr>Noto Sans CJK KR Bold</vt:lpstr>
      <vt:lpstr>Noto Sans CJK KR Medium</vt:lpstr>
      <vt:lpstr>system-ui</vt:lpstr>
      <vt:lpstr>NanumGothic</vt:lpstr>
      <vt:lpstr>맑은 고딕</vt:lpstr>
      <vt:lpstr>Arial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Microsoft Office User</dc:creator>
  <cp:lastModifiedBy>안인성</cp:lastModifiedBy>
  <cp:revision>71</cp:revision>
  <dcterms:created xsi:type="dcterms:W3CDTF">2021-07-18T09:05:48Z</dcterms:created>
  <dcterms:modified xsi:type="dcterms:W3CDTF">2025-02-17T14:15:40Z</dcterms:modified>
</cp:coreProperties>
</file>